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heme/theme3.xml" ContentType="application/vnd.openxmlformats-officedocument.theme+xml"/>
  <Override PartName="/ppt/tags/tag12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38" r:id="rId2"/>
  </p:sldMasterIdLst>
  <p:notesMasterIdLst>
    <p:notesMasterId r:id="rId8"/>
  </p:notesMasterIdLst>
  <p:sldIdLst>
    <p:sldId id="276" r:id="rId3"/>
    <p:sldId id="2147327014" r:id="rId4"/>
    <p:sldId id="2147327015" r:id="rId5"/>
    <p:sldId id="2147327016" r:id="rId6"/>
    <p:sldId id="2147327017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9A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0" d="100"/>
          <a:sy n="80" d="100"/>
        </p:scale>
        <p:origin x="58" y="1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C1C680-BCA0-4F32-893E-90491BCE484F}" type="datetimeFigureOut">
              <a:rPr lang="en-IN" smtClean="0"/>
              <a:t>17-03-2023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075184-0276-4A01-98D0-6D605FDCC01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246653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FED875-7CA7-4683-B586-34E1A4A09D1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8818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8.jpe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8.jpe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8.jpe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8.jpe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jpeg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8.jpe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8.jpe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8.jpeg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8.jpeg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8.jpeg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8.jpe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8.jpeg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8.jpe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8.jpeg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8.jpeg"/><Relationship Id="rId5" Type="http://schemas.openxmlformats.org/officeDocument/2006/relationships/image" Target="../media/image14.png"/><Relationship Id="rId4" Type="http://schemas.openxmlformats.org/officeDocument/2006/relationships/image" Target="../media/image1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8.jpe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image" Target="../media/image8.jpe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6" Type="http://schemas.openxmlformats.org/officeDocument/2006/relationships/image" Target="../media/image8.jpe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6" Type="http://schemas.openxmlformats.org/officeDocument/2006/relationships/image" Target="../media/image8.jpe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image" Target="../media/image8.jpe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6" Type="http://schemas.openxmlformats.org/officeDocument/2006/relationships/image" Target="../media/image8.jpe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6" Type="http://schemas.openxmlformats.org/officeDocument/2006/relationships/image" Target="../media/image8.jpe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6" Type="http://schemas.openxmlformats.org/officeDocument/2006/relationships/image" Target="../media/image8.jpeg"/><Relationship Id="rId5" Type="http://schemas.openxmlformats.org/officeDocument/2006/relationships/image" Target="../media/image10.png"/><Relationship Id="rId4" Type="http://schemas.openxmlformats.org/officeDocument/2006/relationships/image" Target="../media/image1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6" Type="http://schemas.openxmlformats.org/officeDocument/2006/relationships/image" Target="../media/image8.jpeg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6" Type="http://schemas.openxmlformats.org/officeDocument/2006/relationships/image" Target="../media/image8.jpeg"/><Relationship Id="rId5" Type="http://schemas.openxmlformats.org/officeDocument/2006/relationships/image" Target="../media/image13.png"/><Relationship Id="rId4" Type="http://schemas.openxmlformats.org/officeDocument/2006/relationships/image" Target="../media/image5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6" Type="http://schemas.openxmlformats.org/officeDocument/2006/relationships/image" Target="../media/image8.jpeg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6" Type="http://schemas.openxmlformats.org/officeDocument/2006/relationships/image" Target="../media/image8.jpe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6" Type="http://schemas.openxmlformats.org/officeDocument/2006/relationships/image" Target="../media/image8.jpeg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6" Type="http://schemas.openxmlformats.org/officeDocument/2006/relationships/image" Target="../media/image8.jpe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6" Type="http://schemas.openxmlformats.org/officeDocument/2006/relationships/image" Target="../media/image8.jpeg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6" Type="http://schemas.openxmlformats.org/officeDocument/2006/relationships/image" Target="../media/image8.jpeg"/><Relationship Id="rId5" Type="http://schemas.openxmlformats.org/officeDocument/2006/relationships/image" Target="../media/image14.png"/><Relationship Id="rId4" Type="http://schemas.openxmlformats.org/officeDocument/2006/relationships/image" Target="../media/image2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6" Type="http://schemas.openxmlformats.org/officeDocument/2006/relationships/image" Target="../media/image8.jpe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6" Type="http://schemas.openxmlformats.org/officeDocument/2006/relationships/image" Target="../media/image8.jpe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0.xml"/><Relationship Id="rId4" Type="http://schemas.openxmlformats.org/officeDocument/2006/relationships/image" Target="../media/image5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jpe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Relationship Id="rId6" Type="http://schemas.openxmlformats.org/officeDocument/2006/relationships/image" Target="../media/image8.jpe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jpe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Relationship Id="rId6" Type="http://schemas.openxmlformats.org/officeDocument/2006/relationships/image" Target="../media/image7.jpe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Relationship Id="rId6" Type="http://schemas.openxmlformats.org/officeDocument/2006/relationships/image" Target="../media/image8.jpe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Relationship Id="rId6" Type="http://schemas.openxmlformats.org/officeDocument/2006/relationships/image" Target="../media/image8.jpe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9.bin"/><Relationship Id="rId3" Type="http://schemas.openxmlformats.org/officeDocument/2006/relationships/tags" Target="../tags/tag10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image" Target="../media/image4.png"/><Relationship Id="rId5" Type="http://schemas.openxmlformats.org/officeDocument/2006/relationships/tags" Target="../tags/tag106.xml"/><Relationship Id="rId10" Type="http://schemas.openxmlformats.org/officeDocument/2006/relationships/image" Target="../media/image18.emf"/><Relationship Id="rId4" Type="http://schemas.openxmlformats.org/officeDocument/2006/relationships/tags" Target="../tags/tag105.xml"/><Relationship Id="rId9" Type="http://schemas.openxmlformats.org/officeDocument/2006/relationships/image" Target="../media/image17.emf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image" Target="../media/image15.emf"/><Relationship Id="rId5" Type="http://schemas.openxmlformats.org/officeDocument/2006/relationships/tags" Target="../tags/tag112.xml"/><Relationship Id="rId10" Type="http://schemas.openxmlformats.org/officeDocument/2006/relationships/oleObject" Target="../embeddings/oleObject80.bin"/><Relationship Id="rId4" Type="http://schemas.openxmlformats.org/officeDocument/2006/relationships/tags" Target="../tags/tag111.xml"/><Relationship Id="rId9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microsoft.com/office/2007/relationships/hdphoto" Target="../media/hdphoto1.wdp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11" Type="http://schemas.openxmlformats.org/officeDocument/2006/relationships/image" Target="../media/image19.png"/><Relationship Id="rId5" Type="http://schemas.openxmlformats.org/officeDocument/2006/relationships/tags" Target="../tags/tag120.xml"/><Relationship Id="rId10" Type="http://schemas.openxmlformats.org/officeDocument/2006/relationships/image" Target="../media/image17.emf"/><Relationship Id="rId4" Type="http://schemas.openxmlformats.org/officeDocument/2006/relationships/tags" Target="../tags/tag119.xml"/><Relationship Id="rId9" Type="http://schemas.openxmlformats.org/officeDocument/2006/relationships/oleObject" Target="../embeddings/oleObject81.bin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125.xml"/><Relationship Id="rId7" Type="http://schemas.openxmlformats.org/officeDocument/2006/relationships/oleObject" Target="../embeddings/oleObject82.bin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7.xml"/><Relationship Id="rId4" Type="http://schemas.openxmlformats.org/officeDocument/2006/relationships/tags" Target="../tags/tag12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959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6">
            <a:extLst>
              <a:ext uri="{FF2B5EF4-FFF2-40B4-BE49-F238E27FC236}">
                <a16:creationId xmlns:a16="http://schemas.microsoft.com/office/drawing/2014/main" id="{0B482ABC-8F7A-430D-B346-03B1616C920B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860800" y="2833588"/>
            <a:ext cx="7823201" cy="565251"/>
          </a:xfr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rgbClr val="000000">
                <a:alpha val="74998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/>
            </a:lvl1pPr>
          </a:lstStyle>
          <a:p>
            <a:pPr marL="0" marR="0" lvl="0" indent="0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 noProof="0"/>
              <a:t>Click to add title</a:t>
            </a:r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860800" y="3733801"/>
            <a:ext cx="7721600" cy="4710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4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ＭＳ Ｐゴシック"/>
              </a:defRPr>
            </a:lvl1pPr>
          </a:lstStyle>
          <a:p>
            <a:pPr marR="0"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2CE9B"/>
              </a:buClr>
              <a:buSzPct val="75000"/>
              <a:buFont typeface="Wingdings" charset="0"/>
              <a:buNone/>
              <a:tabLst/>
            </a:pPr>
            <a:r>
              <a:rPr lang="en-US" noProof="0"/>
              <a:t>Click to add subtitle</a:t>
            </a:r>
          </a:p>
        </p:txBody>
      </p:sp>
      <p:pic>
        <p:nvPicPr>
          <p:cNvPr id="29" name="Picture 1">
            <a:extLst>
              <a:ext uri="{FF2B5EF4-FFF2-40B4-BE49-F238E27FC236}">
                <a16:creationId xmlns:a16="http://schemas.microsoft.com/office/drawing/2014/main" id="{871D16C0-7620-481D-B1CA-2FB0A82764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8168" y="1186844"/>
            <a:ext cx="4779433" cy="924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860800" y="4435922"/>
            <a:ext cx="7721600" cy="461665"/>
          </a:xfrm>
          <a:prstGeom prst="rect">
            <a:avLst/>
          </a:prstGeom>
        </p:spPr>
        <p:txBody>
          <a:bodyPr vert="horz" wrap="square" lIns="91440" tIns="45720" rIns="91440" bIns="4572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400" ker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668575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0802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3286"/>
            <a:ext cx="12192000" cy="6811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191" y="4997944"/>
            <a:ext cx="11397841" cy="369397"/>
          </a:xfrm>
        </p:spPr>
        <p:txBody>
          <a:bodyPr vert="horz" lIns="0" tIns="0" rIns="0" bIns="0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92191" y="1384458"/>
            <a:ext cx="11397841" cy="3385950"/>
          </a:xfrm>
        </p:spPr>
        <p:txBody>
          <a:bodyPr/>
          <a:lstStyle>
            <a:lvl1pPr marL="0" indent="0">
              <a:buNone/>
              <a:defRPr sz="4267"/>
            </a:lvl1pPr>
            <a:lvl2pPr marL="609582" indent="0">
              <a:buNone/>
              <a:defRPr sz="3733"/>
            </a:lvl2pPr>
            <a:lvl3pPr marL="1219166" indent="0">
              <a:buNone/>
              <a:defRPr sz="3200"/>
            </a:lvl3pPr>
            <a:lvl4pPr marL="1828747" indent="0">
              <a:buNone/>
              <a:defRPr sz="2667"/>
            </a:lvl4pPr>
            <a:lvl5pPr marL="2438329" indent="0">
              <a:buNone/>
              <a:defRPr sz="2667"/>
            </a:lvl5pPr>
            <a:lvl6pPr marL="3047912" indent="0">
              <a:buNone/>
              <a:defRPr sz="2667"/>
            </a:lvl6pPr>
            <a:lvl7pPr marL="3657495" indent="0">
              <a:buNone/>
              <a:defRPr sz="2667"/>
            </a:lvl7pPr>
            <a:lvl8pPr marL="4267076" indent="0">
              <a:buNone/>
              <a:defRPr sz="2667"/>
            </a:lvl8pPr>
            <a:lvl9pPr marL="4876659" indent="0">
              <a:buNone/>
              <a:defRPr sz="2667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92191" y="5367339"/>
            <a:ext cx="11397841" cy="365293"/>
          </a:xfrm>
        </p:spPr>
        <p:txBody>
          <a:bodyPr/>
          <a:lstStyle>
            <a:lvl1pPr marL="0" indent="0">
              <a:buNone/>
              <a:defRPr sz="1867"/>
            </a:lvl1pPr>
            <a:lvl2pPr marL="609582" indent="0">
              <a:buNone/>
              <a:defRPr sz="1600"/>
            </a:lvl2pPr>
            <a:lvl3pPr marL="1219166" indent="0">
              <a:buNone/>
              <a:defRPr sz="1333"/>
            </a:lvl3pPr>
            <a:lvl4pPr marL="1828747" indent="0">
              <a:buNone/>
              <a:defRPr sz="1200"/>
            </a:lvl4pPr>
            <a:lvl5pPr marL="2438329" indent="0">
              <a:buNone/>
              <a:defRPr sz="1200"/>
            </a:lvl5pPr>
            <a:lvl6pPr marL="3047912" indent="0">
              <a:buNone/>
              <a:defRPr sz="1200"/>
            </a:lvl6pPr>
            <a:lvl7pPr marL="3657495" indent="0">
              <a:buNone/>
              <a:defRPr sz="1200"/>
            </a:lvl7pPr>
            <a:lvl8pPr marL="4267076" indent="0">
              <a:buNone/>
              <a:defRPr sz="1200"/>
            </a:lvl8pPr>
            <a:lvl9pPr marL="4876659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57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3286"/>
            <a:ext cx="12192000" cy="6811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72018" y="360004"/>
            <a:ext cx="10094383" cy="5078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77152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3286"/>
            <a:ext cx="12192000" cy="6811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191" y="1847102"/>
            <a:ext cx="11397841" cy="41804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72018" y="360004"/>
            <a:ext cx="10094383" cy="507831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9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881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6499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0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392190" y="1544274"/>
            <a:ext cx="3690210" cy="1495794"/>
          </a:xfrm>
          <a:noFill/>
          <a:effectLst/>
        </p:spPr>
        <p:txBody>
          <a:bodyPr vert="horz" wrap="square" lIns="0" tIns="0" rIns="0" bIns="0" anchor="b">
            <a:noAutofit/>
          </a:bodyPr>
          <a:lstStyle>
            <a:lvl1pPr>
              <a:defRPr sz="3000">
                <a:solidFill>
                  <a:srgbClr val="009AA6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2693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ffectLst/>
        </p:spPr>
        <p:txBody>
          <a:bodyPr vert="horz" lIns="274320" tIns="274320" rIns="274320" bIns="137160" anchor="b">
            <a:noAutofit/>
          </a:bodyPr>
          <a:lstStyle>
            <a:lvl1pPr marL="0" algn="l" defTabSz="914396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270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7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472018" y="3826800"/>
            <a:ext cx="11094782" cy="2041200"/>
          </a:xfrm>
          <a:effectLst/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72018" y="3680016"/>
            <a:ext cx="1172318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37827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1332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1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1" y="1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392190" y="2681104"/>
            <a:ext cx="3365691" cy="1495794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300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313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1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1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72018" y="360004"/>
            <a:ext cx="6414782" cy="50783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9779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292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9" y="1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392190" y="2681104"/>
            <a:ext cx="3365691" cy="1495794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410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1032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1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1"/>
            <a:ext cx="6096001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1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392190" y="1785601"/>
            <a:ext cx="4626210" cy="3286800"/>
          </a:xfrm>
          <a:prstGeom prst="rect">
            <a:avLst/>
          </a:prstGeom>
          <a:noFill/>
          <a:effectLst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385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5824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6">
            <a:extLst>
              <a:ext uri="{FF2B5EF4-FFF2-40B4-BE49-F238E27FC236}">
                <a16:creationId xmlns:a16="http://schemas.microsoft.com/office/drawing/2014/main" id="{0B482ABC-8F7A-430D-B346-03B1616C920B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87">
            <a:extLst>
              <a:ext uri="{FF2B5EF4-FFF2-40B4-BE49-F238E27FC236}">
                <a16:creationId xmlns:a16="http://schemas.microsoft.com/office/drawing/2014/main" id="{21C109CC-1434-4CF4-9ACF-D207B482634A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1480800" y="6660820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[ </a:t>
            </a:r>
            <a:fld id="{AAF8A1FE-E77A-4F04-AB42-5E85A63CE2E6}" type="slidenum">
              <a:rPr kumimoji="0" lang="en-US" alt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]</a:t>
            </a:r>
          </a:p>
        </p:txBody>
      </p:sp>
      <p:sp>
        <p:nvSpPr>
          <p:cNvPr id="6" name="Text Box 88">
            <a:extLst>
              <a:ext uri="{FF2B5EF4-FFF2-40B4-BE49-F238E27FC236}">
                <a16:creationId xmlns:a16="http://schemas.microsoft.com/office/drawing/2014/main" id="{4C8476D7-CDD0-46CE-B661-B08CC0C5EF0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8839200" y="6660820"/>
            <a:ext cx="2677584" cy="167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CONFIDENTIAL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860800" y="3733801"/>
            <a:ext cx="7721600" cy="4710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4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ＭＳ Ｐゴシック"/>
              </a:defRPr>
            </a:lvl1pPr>
          </a:lstStyle>
          <a:p>
            <a:pPr marR="0"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2CE9B"/>
              </a:buClr>
              <a:buSzPct val="75000"/>
              <a:buFont typeface="Wingdings" charset="0"/>
              <a:buNone/>
              <a:tabLst/>
            </a:pPr>
            <a:r>
              <a:rPr lang="en-US" noProof="0"/>
              <a:t>Click to add sub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860800" y="4435922"/>
            <a:ext cx="7721600" cy="461665"/>
          </a:xfrm>
          <a:prstGeom prst="rect">
            <a:avLst/>
          </a:prstGeom>
        </p:spPr>
        <p:txBody>
          <a:bodyPr vert="horz" wrap="square" lIns="91440" tIns="45720" rIns="91440" bIns="4572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400" ker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860800" y="2833588"/>
            <a:ext cx="7823201" cy="565251"/>
          </a:xfr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rgbClr val="000000">
                <a:alpha val="74998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/>
            </a:lvl1pPr>
          </a:lstStyle>
          <a:p>
            <a:pPr marL="0" marR="0" lvl="0" indent="0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5366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263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1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4" y="1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1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16395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92191" y="1804650"/>
            <a:ext cx="6485363" cy="3286800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1319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693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5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392190" y="2764204"/>
            <a:ext cx="2716448" cy="1314311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3000" baseline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126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221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92190" y="2764204"/>
            <a:ext cx="2716448" cy="1314311"/>
          </a:xfrm>
          <a:effectLst/>
        </p:spPr>
        <p:txBody>
          <a:bodyPr vert="horz" lIns="0" tIns="0" rIns="0" bIns="0" anchor="ctr" anchorCtr="0">
            <a:noAutofit/>
          </a:bodyPr>
          <a:lstStyle>
            <a:lvl1pPr>
              <a:defRPr sz="30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Rectangle 11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1678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771888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1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2190" y="1785601"/>
            <a:ext cx="4300045" cy="3286800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400" b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6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3197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7433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1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2190" y="1785601"/>
            <a:ext cx="4300045" cy="3286800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60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5" name="Rectangle 14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4326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1"/>
            <a:ext cx="6363545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72019" y="360004"/>
            <a:ext cx="4831628" cy="50783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2618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1"/>
            <a:ext cx="6363545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Rectangle 14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 userDrawn="1">
            <p:ph type="title" hasCustomPrompt="1"/>
          </p:nvPr>
        </p:nvSpPr>
        <p:spPr>
          <a:xfrm>
            <a:off x="472019" y="360004"/>
            <a:ext cx="4831628" cy="507831"/>
          </a:xfrm>
          <a:effectLst/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6744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1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72018" y="360004"/>
            <a:ext cx="6414782" cy="50783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6680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1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9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Rectangle 13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 userDrawn="1">
            <p:ph type="title" hasCustomPrompt="1"/>
          </p:nvPr>
        </p:nvSpPr>
        <p:spPr>
          <a:xfrm>
            <a:off x="472018" y="360004"/>
            <a:ext cx="6414782" cy="507831"/>
          </a:xfrm>
          <a:effectLst/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145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0"/>
          </a:xfrm>
          <a:effectLst/>
        </p:spPr>
        <p:txBody>
          <a:bodyPr vert="horz" anchor="b">
            <a:noAutofit/>
          </a:bodyPr>
          <a:lstStyle>
            <a:lvl1pPr marL="0" algn="l" defTabSz="914396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37306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354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3286"/>
            <a:ext cx="12192000" cy="6811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018" y="360004"/>
            <a:ext cx="10094383" cy="5078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6004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 w="10795" cap="flat" cmpd="sng" algn="ctr">
            <a:solidFill>
              <a:srgbClr val="009AA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0"/>
          </a:xfrm>
          <a:prstGeom prst="rect">
            <a:avLst/>
          </a:prstGeom>
          <a:effectLst/>
        </p:spPr>
        <p:txBody>
          <a:bodyPr vert="horz" anchor="b">
            <a:noAutofit/>
          </a:bodyPr>
          <a:lstStyle>
            <a:lvl1pPr marL="0" algn="l" defTabSz="914396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8775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4D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1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9AA6"/>
          </a:solidFill>
          <a:ln>
            <a:noFill/>
          </a:ln>
          <a:effectLst/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0562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1" y="1"/>
            <a:ext cx="12192000" cy="934498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528"/>
          <a:stretch/>
        </p:blipFill>
        <p:spPr bwMode="auto">
          <a:xfrm>
            <a:off x="1" y="23286"/>
            <a:ext cx="12192000" cy="84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Title 21"/>
          <p:cNvSpPr>
            <a:spLocks noGrp="1"/>
          </p:cNvSpPr>
          <p:nvPr userDrawn="1">
            <p:ph type="title"/>
          </p:nvPr>
        </p:nvSpPr>
        <p:spPr>
          <a:xfrm>
            <a:off x="472018" y="360004"/>
            <a:ext cx="10094383" cy="507831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4416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9441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3348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114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">
            <a:extLst>
              <a:ext uri="{FF2B5EF4-FFF2-40B4-BE49-F238E27FC236}">
                <a16:creationId xmlns:a16="http://schemas.microsoft.com/office/drawing/2014/main" id="{871D16C0-7620-481D-B1CA-2FB0A82764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2716" y="2598597"/>
            <a:ext cx="7116791" cy="1376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7603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362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404732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392190" y="1263901"/>
              <a:ext cx="11397841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Live area"/>
            <p:cNvSpPr/>
            <p:nvPr/>
          </p:nvSpPr>
          <p:spPr>
            <a:xfrm>
              <a:off x="392190" y="1847101"/>
              <a:ext cx="11397841" cy="4180431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9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Freeform 99"/>
            <p:cNvSpPr/>
            <p:nvPr userDrawn="1"/>
          </p:nvSpPr>
          <p:spPr>
            <a:xfrm>
              <a:off x="630002" y="622799"/>
              <a:ext cx="10931999" cy="750"/>
            </a:xfrm>
            <a:custGeom>
              <a:avLst/>
              <a:gdLst>
                <a:gd name="connsiteX0" fmla="*/ 0 w 10931999"/>
                <a:gd name="connsiteY0" fmla="*/ 0 h 750"/>
                <a:gd name="connsiteX1" fmla="*/ 10931999 w 10931999"/>
                <a:gd name="connsiteY1" fmla="*/ 0 h 750"/>
                <a:gd name="connsiteX2" fmla="*/ 10931999 w 10931999"/>
                <a:gd name="connsiteY2" fmla="*/ 750 h 750"/>
                <a:gd name="connsiteX3" fmla="*/ 0 w 10931999"/>
                <a:gd name="connsiteY3" fmla="*/ 750 h 750"/>
                <a:gd name="connsiteX4" fmla="*/ 0 w 10931999"/>
                <a:gd name="connsiteY4" fmla="*/ 0 h 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31999" h="750">
                  <a:moveTo>
                    <a:pt x="0" y="0"/>
                  </a:moveTo>
                  <a:lnTo>
                    <a:pt x="10931999" y="0"/>
                  </a:lnTo>
                  <a:lnTo>
                    <a:pt x="10931999" y="750"/>
                  </a:lnTo>
                  <a:lnTo>
                    <a:pt x="0" y="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BA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Freeform 97"/>
            <p:cNvSpPr/>
            <p:nvPr userDrawn="1"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0 w 12193200"/>
                <a:gd name="connsiteY0" fmla="*/ 0 h 6858000"/>
                <a:gd name="connsiteX1" fmla="*/ 12193200 w 12193200"/>
                <a:gd name="connsiteY1" fmla="*/ 0 h 6858000"/>
                <a:gd name="connsiteX2" fmla="*/ 12193200 w 12193200"/>
                <a:gd name="connsiteY2" fmla="*/ 622800 h 6858000"/>
                <a:gd name="connsiteX3" fmla="*/ 12192000 w 12193200"/>
                <a:gd name="connsiteY3" fmla="*/ 622800 h 6858000"/>
                <a:gd name="connsiteX4" fmla="*/ 12192000 w 12193200"/>
                <a:gd name="connsiteY4" fmla="*/ 6160597 h 6858000"/>
                <a:gd name="connsiteX5" fmla="*/ 12193200 w 12193200"/>
                <a:gd name="connsiteY5" fmla="*/ 6160597 h 6858000"/>
                <a:gd name="connsiteX6" fmla="*/ 12193200 w 12193200"/>
                <a:gd name="connsiteY6" fmla="*/ 6858000 h 6858000"/>
                <a:gd name="connsiteX7" fmla="*/ 12192000 w 12193200"/>
                <a:gd name="connsiteY7" fmla="*/ 6858000 h 6858000"/>
                <a:gd name="connsiteX8" fmla="*/ 11562000 w 12193200"/>
                <a:gd name="connsiteY8" fmla="*/ 6858000 h 6858000"/>
                <a:gd name="connsiteX9" fmla="*/ 630001 w 12193200"/>
                <a:gd name="connsiteY9" fmla="*/ 6858000 h 6858000"/>
                <a:gd name="connsiteX10" fmla="*/ 1 w 12193200"/>
                <a:gd name="connsiteY10" fmla="*/ 6858000 h 6858000"/>
                <a:gd name="connsiteX11" fmla="*/ 1 w 12193200"/>
                <a:gd name="connsiteY11" fmla="*/ 6160597 h 6858000"/>
                <a:gd name="connsiteX12" fmla="*/ 1 w 12193200"/>
                <a:gd name="connsiteY12" fmla="*/ 622800 h 6858000"/>
                <a:gd name="connsiteX13" fmla="*/ 0 w 12193200"/>
                <a:gd name="connsiteY13" fmla="*/ 622800 h 6858000"/>
                <a:gd name="connsiteX14" fmla="*/ 0 w 12193200"/>
                <a:gd name="connsiteY14" fmla="*/ 0 h 6858000"/>
                <a:gd name="connsiteX15" fmla="*/ 630001 w 12193200"/>
                <a:gd name="connsiteY15" fmla="*/ 622800 h 6858000"/>
                <a:gd name="connsiteX16" fmla="*/ 630001 w 12193200"/>
                <a:gd name="connsiteY16" fmla="*/ 623550 h 6858000"/>
                <a:gd name="connsiteX17" fmla="*/ 392190 w 12193200"/>
                <a:gd name="connsiteY17" fmla="*/ 623550 h 6858000"/>
                <a:gd name="connsiteX18" fmla="*/ 392190 w 12193200"/>
                <a:gd name="connsiteY18" fmla="*/ 6470730 h 6858000"/>
                <a:gd name="connsiteX19" fmla="*/ 11790031 w 12193200"/>
                <a:gd name="connsiteY19" fmla="*/ 6470730 h 6858000"/>
                <a:gd name="connsiteX20" fmla="*/ 11790031 w 12193200"/>
                <a:gd name="connsiteY20" fmla="*/ 623550 h 6858000"/>
                <a:gd name="connsiteX21" fmla="*/ 11562000 w 12193200"/>
                <a:gd name="connsiteY21" fmla="*/ 623550 h 6858000"/>
                <a:gd name="connsiteX22" fmla="*/ 11562000 w 12193200"/>
                <a:gd name="connsiteY22" fmla="*/ 622800 h 6858000"/>
                <a:gd name="connsiteX23" fmla="*/ 630001 w 12193200"/>
                <a:gd name="connsiteY23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193200" h="6858000"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  <a:moveTo>
                    <a:pt x="630001" y="622800"/>
                  </a:moveTo>
                  <a:lnTo>
                    <a:pt x="630001" y="623550"/>
                  </a:lnTo>
                  <a:lnTo>
                    <a:pt x="392190" y="623550"/>
                  </a:lnTo>
                  <a:lnTo>
                    <a:pt x="392190" y="6470730"/>
                  </a:lnTo>
                  <a:lnTo>
                    <a:pt x="11790031" y="6470730"/>
                  </a:lnTo>
                  <a:lnTo>
                    <a:pt x="11790031" y="623550"/>
                  </a:lnTo>
                  <a:lnTo>
                    <a:pt x="11562000" y="623550"/>
                  </a:lnTo>
                  <a:lnTo>
                    <a:pt x="11562000" y="622800"/>
                  </a:lnTo>
                  <a:lnTo>
                    <a:pt x="630001" y="622800"/>
                  </a:lnTo>
                  <a:close/>
                </a:path>
              </a:pathLst>
            </a:custGeom>
            <a:solidFill>
              <a:srgbClr val="E71C57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392190" y="6027340"/>
              <a:ext cx="11397841" cy="44339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0" name="Footnote example"/>
            <p:cNvSpPr txBox="1"/>
            <p:nvPr/>
          </p:nvSpPr>
          <p:spPr>
            <a:xfrm>
              <a:off x="392189" y="6046792"/>
              <a:ext cx="9788619" cy="42393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39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39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39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79421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810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0B482ABC-8F7A-430D-B346-03B1616C920B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860800" y="2833588"/>
            <a:ext cx="7823201" cy="565251"/>
          </a:xfr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rgbClr val="000000">
                <a:alpha val="74998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/>
            </a:lvl1pPr>
          </a:lstStyle>
          <a:p>
            <a:pPr marL="0" marR="0" lvl="0" indent="0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 noProof="0"/>
              <a:t>Click to add title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860800" y="3733801"/>
            <a:ext cx="7721600" cy="4710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4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ＭＳ Ｐゴシック"/>
              </a:defRPr>
            </a:lvl1pPr>
          </a:lstStyle>
          <a:p>
            <a:pPr marR="0"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2CE9B"/>
              </a:buClr>
              <a:buSzPct val="75000"/>
              <a:buFont typeface="Wingdings" charset="0"/>
              <a:buNone/>
              <a:tabLst/>
            </a:pPr>
            <a:r>
              <a:rPr lang="en-US" noProof="0"/>
              <a:t>Click to add subtitle</a:t>
            </a:r>
          </a:p>
        </p:txBody>
      </p:sp>
      <p:pic>
        <p:nvPicPr>
          <p:cNvPr id="12" name="Picture 1">
            <a:extLst>
              <a:ext uri="{FF2B5EF4-FFF2-40B4-BE49-F238E27FC236}">
                <a16:creationId xmlns:a16="http://schemas.microsoft.com/office/drawing/2014/main" id="{871D16C0-7620-481D-B1CA-2FB0A82764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8168" y="1186844"/>
            <a:ext cx="4779433" cy="924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860800" y="4435922"/>
            <a:ext cx="7721600" cy="461665"/>
          </a:xfrm>
          <a:prstGeom prst="rect">
            <a:avLst/>
          </a:prstGeom>
        </p:spPr>
        <p:txBody>
          <a:bodyPr vert="horz" wrap="square" lIns="91440" tIns="45720" rIns="91440" bIns="4572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400" ker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061980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3286"/>
            <a:ext cx="12192000" cy="6811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018" y="360004"/>
            <a:ext cx="10094383" cy="507831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8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03117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5883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3286"/>
            <a:ext cx="12192000" cy="6811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191" y="4406901"/>
            <a:ext cx="11397841" cy="1590945"/>
          </a:xfrm>
          <a:noFill/>
          <a:ln w="9525">
            <a:noFill/>
            <a:miter lim="800000"/>
            <a:headEnd/>
            <a:tailEnd/>
          </a:ln>
          <a:effectLst>
            <a:outerShdw blurRad="63500" dist="17959" dir="27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5333" b="1" cap="all" dirty="0">
                <a:latin typeface="Arial"/>
                <a:cs typeface="ＭＳ Ｐゴシック" charset="0"/>
              </a:defRPr>
            </a:lvl1pPr>
          </a:lstStyle>
          <a:p>
            <a:pPr marL="0" marR="0" lvl="0" indent="0" eaLnBrk="0" fontAlgn="base" hangingPunct="0">
              <a:lnSpc>
                <a:spcPct val="95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191" y="3715105"/>
            <a:ext cx="11397841" cy="39783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667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ＭＳ Ｐゴシック" charset="0"/>
              </a:defRPr>
            </a:lvl1pPr>
          </a:lstStyle>
          <a:p>
            <a:pPr marR="0" lvl="0" eaLnBrk="0" fontAlgn="base" hangingPunct="0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rgbClr val="72CE9B"/>
              </a:buClr>
              <a:buSzPct val="75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8501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3286"/>
            <a:ext cx="12192000" cy="6811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191" y="1847102"/>
            <a:ext cx="11397841" cy="41804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472018" y="360004"/>
            <a:ext cx="10094383" cy="507831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3700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47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2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392191" y="2158988"/>
            <a:ext cx="3981810" cy="541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rgbClr val="009AA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392191" y="1227049"/>
            <a:ext cx="3981810" cy="664797"/>
          </a:xfrm>
          <a:effectLst/>
        </p:spPr>
        <p:txBody>
          <a:bodyPr vert="horz" lIns="0" tIns="0" rIns="0" bIns="0" anchor="t">
            <a:noAutofit/>
          </a:bodyPr>
          <a:lstStyle>
            <a:lvl1pPr>
              <a:defRPr sz="300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819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6"/>
          </a:xfrm>
          <a:prstGeom prst="rect">
            <a:avLst/>
          </a:prstGeom>
          <a:ln w="9525"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396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4" y="1424082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7349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018" y="3826800"/>
            <a:ext cx="11094782" cy="2041200"/>
          </a:xfrm>
          <a:effectLst/>
        </p:spPr>
        <p:txBody>
          <a:bodyPr vert="horz" anchor="t">
            <a:noAutofit/>
          </a:bodyPr>
          <a:lstStyle>
            <a:lvl1pPr>
              <a:defRPr sz="540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2019" y="3680016"/>
            <a:ext cx="1171656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5421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0522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1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1" y="1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392190" y="2681104"/>
            <a:ext cx="3365691" cy="1495794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300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0994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1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1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>
          <a:xfrm>
            <a:off x="472018" y="360004"/>
            <a:ext cx="6434512" cy="50783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6790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7" y="1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1" y="1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>
          <a:xfrm>
            <a:off x="472018" y="360004"/>
            <a:ext cx="8259566" cy="50783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6588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126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9" y="1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392190" y="2681104"/>
            <a:ext cx="3365691" cy="1495794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30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9424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557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1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1"/>
            <a:ext cx="6096001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1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92190" y="1785601"/>
            <a:ext cx="4626210" cy="3286800"/>
          </a:xfrm>
          <a:prstGeom prst="rect">
            <a:avLst/>
          </a:prstGeom>
          <a:noFill/>
          <a:effectLst/>
        </p:spPr>
        <p:txBody>
          <a:bodyPr vert="horz" wrap="square" lIns="0" tIns="0" rIns="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Box 21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792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7041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1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4" y="1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1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392191" y="1785601"/>
            <a:ext cx="6486298" cy="3286800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6692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149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3286"/>
            <a:ext cx="12192000" cy="6811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2191" y="1828801"/>
            <a:ext cx="5595304" cy="3235757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4728" y="1828801"/>
            <a:ext cx="5595304" cy="3235757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72018" y="360004"/>
            <a:ext cx="10094383" cy="5078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6861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2238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5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392190" y="2764204"/>
            <a:ext cx="2716448" cy="1314311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300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5184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248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5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92190" y="2764204"/>
            <a:ext cx="2716448" cy="1314311"/>
          </a:xfrm>
          <a:effectLst/>
        </p:spPr>
        <p:txBody>
          <a:bodyPr vert="horz" lIns="0" tIns="0" rIns="0" bIns="0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Rectangle 11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5801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26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1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92190" y="1785601"/>
            <a:ext cx="4300045" cy="3286800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400" b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6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4172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33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1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92190" y="1785601"/>
            <a:ext cx="4300045" cy="3286800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60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Rectangle 11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0493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1"/>
            <a:ext cx="6363545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>
          <a:xfrm>
            <a:off x="472019" y="360004"/>
            <a:ext cx="4905804" cy="50783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472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1"/>
            <a:ext cx="6363545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72019" y="360004"/>
            <a:ext cx="4905804" cy="507831"/>
          </a:xfrm>
          <a:effectLst/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4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0487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1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>
          <a:xfrm>
            <a:off x="472018" y="360004"/>
            <a:ext cx="6412478" cy="50783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949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1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9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72018" y="360004"/>
            <a:ext cx="6412478" cy="507831"/>
          </a:xfrm>
          <a:effectLst/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3473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0"/>
          </a:xfrm>
          <a:effectLst/>
        </p:spPr>
        <p:txBody>
          <a:bodyPr vert="horz" anchor="b">
            <a:noAutofit/>
          </a:bodyPr>
          <a:lstStyle>
            <a:lvl1pPr marL="0" algn="l" defTabSz="914396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4157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8318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0"/>
          </a:xfrm>
          <a:prstGeom prst="rect">
            <a:avLst/>
          </a:prstGeom>
          <a:effectLst/>
        </p:spPr>
        <p:txBody>
          <a:bodyPr vert="horz" anchor="b">
            <a:noAutofit/>
          </a:bodyPr>
          <a:lstStyle>
            <a:lvl1pPr marL="0" algn="l" defTabSz="914396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4924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9405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3286"/>
            <a:ext cx="12192000" cy="6811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191" y="1116125"/>
            <a:ext cx="5595304" cy="1058752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582" indent="0">
              <a:buNone/>
              <a:defRPr sz="2667" b="1"/>
            </a:lvl2pPr>
            <a:lvl3pPr marL="1219166" indent="0">
              <a:buNone/>
              <a:defRPr sz="2400" b="1"/>
            </a:lvl3pPr>
            <a:lvl4pPr marL="1828747" indent="0">
              <a:buNone/>
              <a:defRPr sz="2133" b="1"/>
            </a:lvl4pPr>
            <a:lvl5pPr marL="2438329" indent="0">
              <a:buNone/>
              <a:defRPr sz="2133" b="1"/>
            </a:lvl5pPr>
            <a:lvl6pPr marL="3047912" indent="0">
              <a:buNone/>
              <a:defRPr sz="2133" b="1"/>
            </a:lvl6pPr>
            <a:lvl7pPr marL="3657495" indent="0">
              <a:buNone/>
              <a:defRPr sz="2133" b="1"/>
            </a:lvl7pPr>
            <a:lvl8pPr marL="4267076" indent="0">
              <a:buNone/>
              <a:defRPr sz="2133" b="1"/>
            </a:lvl8pPr>
            <a:lvl9pPr marL="4876659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2191" y="2174876"/>
            <a:ext cx="5595304" cy="2823337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4728" y="1116125"/>
            <a:ext cx="5595304" cy="1058752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582" indent="0">
              <a:buNone/>
              <a:defRPr sz="2667" b="1"/>
            </a:lvl2pPr>
            <a:lvl3pPr marL="1219166" indent="0">
              <a:buNone/>
              <a:defRPr sz="2400" b="1"/>
            </a:lvl3pPr>
            <a:lvl4pPr marL="1828747" indent="0">
              <a:buNone/>
              <a:defRPr sz="2133" b="1"/>
            </a:lvl4pPr>
            <a:lvl5pPr marL="2438329" indent="0">
              <a:buNone/>
              <a:defRPr sz="2133" b="1"/>
            </a:lvl5pPr>
            <a:lvl6pPr marL="3047912" indent="0">
              <a:buNone/>
              <a:defRPr sz="2133" b="1"/>
            </a:lvl6pPr>
            <a:lvl7pPr marL="3657495" indent="0">
              <a:buNone/>
              <a:defRPr sz="2133" b="1"/>
            </a:lvl7pPr>
            <a:lvl8pPr marL="4267076" indent="0">
              <a:buNone/>
              <a:defRPr sz="2133" b="1"/>
            </a:lvl8pPr>
            <a:lvl9pPr marL="4876659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4728" y="2174876"/>
            <a:ext cx="5595304" cy="2823337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2018" y="360004"/>
            <a:ext cx="10094383" cy="5078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90905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4D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1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9AA6"/>
          </a:solidFill>
          <a:ln>
            <a:noFill/>
          </a:ln>
          <a:effectLst/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1237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" y="1"/>
            <a:ext cx="12192000" cy="934498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528"/>
          <a:stretch/>
        </p:blipFill>
        <p:spPr bwMode="auto">
          <a:xfrm>
            <a:off x="1" y="23286"/>
            <a:ext cx="12192000" cy="84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 userDrawn="1">
            <p:ph type="title" hasCustomPrompt="1"/>
          </p:nvPr>
        </p:nvSpPr>
        <p:spPr>
          <a:xfrm>
            <a:off x="472018" y="360004"/>
            <a:ext cx="10094383" cy="507831"/>
          </a:xfrm>
          <a:effectLst/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7055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019" y="2503131"/>
            <a:ext cx="2977382" cy="1851739"/>
          </a:xfrm>
          <a:prstGeom prst="rect">
            <a:avLst/>
          </a:prstGeom>
          <a:noFill/>
        </p:spPr>
        <p:txBody>
          <a:bodyPr wrap="square" lIns="91438" tIns="45719" rIns="91438" bIns="45719" rtlCol="0" anchor="ctr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171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3887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899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83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71D16C0-7620-481D-B1CA-2FB0A82764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2716" y="2598597"/>
            <a:ext cx="7116791" cy="1376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3594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627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1" name="Group 50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grpSp>
          <p:nvGrpSpPr>
            <p:cNvPr id="52" name="Baselines / anchors"/>
            <p:cNvGrpSpPr/>
            <p:nvPr userDrawn="1"/>
          </p:nvGrpSpPr>
          <p:grpSpPr>
            <a:xfrm>
              <a:off x="-600" y="622800"/>
              <a:ext cx="12193200" cy="5404732"/>
              <a:chOff x="12623800" y="622800"/>
              <a:chExt cx="11176000" cy="5536800"/>
            </a:xfrm>
          </p:grpSpPr>
          <p:cxnSp>
            <p:nvCxnSpPr>
              <p:cNvPr id="124" name="Straight Connector 123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13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4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5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6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7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8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9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0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1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2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3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0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Whitespace measure"/>
            <p:cNvSpPr>
              <a:spLocks noChangeArrowheads="1"/>
            </p:cNvSpPr>
            <p:nvPr/>
          </p:nvSpPr>
          <p:spPr bwMode="auto">
            <a:xfrm>
              <a:off x="392190" y="1263901"/>
              <a:ext cx="11397841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Live area"/>
            <p:cNvSpPr/>
            <p:nvPr/>
          </p:nvSpPr>
          <p:spPr>
            <a:xfrm>
              <a:off x="392190" y="1847101"/>
              <a:ext cx="11397841" cy="4180431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39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Freeform 102"/>
            <p:cNvSpPr/>
            <p:nvPr userDrawn="1"/>
          </p:nvSpPr>
          <p:spPr>
            <a:xfrm>
              <a:off x="630002" y="622799"/>
              <a:ext cx="10931999" cy="750"/>
            </a:xfrm>
            <a:custGeom>
              <a:avLst/>
              <a:gdLst>
                <a:gd name="connsiteX0" fmla="*/ 0 w 10931999"/>
                <a:gd name="connsiteY0" fmla="*/ 0 h 750"/>
                <a:gd name="connsiteX1" fmla="*/ 10931999 w 10931999"/>
                <a:gd name="connsiteY1" fmla="*/ 0 h 750"/>
                <a:gd name="connsiteX2" fmla="*/ 10931999 w 10931999"/>
                <a:gd name="connsiteY2" fmla="*/ 750 h 750"/>
                <a:gd name="connsiteX3" fmla="*/ 0 w 10931999"/>
                <a:gd name="connsiteY3" fmla="*/ 750 h 750"/>
                <a:gd name="connsiteX4" fmla="*/ 0 w 10931999"/>
                <a:gd name="connsiteY4" fmla="*/ 0 h 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31999" h="750">
                  <a:moveTo>
                    <a:pt x="0" y="0"/>
                  </a:moveTo>
                  <a:lnTo>
                    <a:pt x="10931999" y="0"/>
                  </a:lnTo>
                  <a:lnTo>
                    <a:pt x="10931999" y="750"/>
                  </a:lnTo>
                  <a:lnTo>
                    <a:pt x="0" y="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BA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Freeform 103"/>
            <p:cNvSpPr/>
            <p:nvPr userDrawn="1"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0 w 12193200"/>
                <a:gd name="connsiteY0" fmla="*/ 0 h 6858000"/>
                <a:gd name="connsiteX1" fmla="*/ 12193200 w 12193200"/>
                <a:gd name="connsiteY1" fmla="*/ 0 h 6858000"/>
                <a:gd name="connsiteX2" fmla="*/ 12193200 w 12193200"/>
                <a:gd name="connsiteY2" fmla="*/ 622800 h 6858000"/>
                <a:gd name="connsiteX3" fmla="*/ 12192000 w 12193200"/>
                <a:gd name="connsiteY3" fmla="*/ 622800 h 6858000"/>
                <a:gd name="connsiteX4" fmla="*/ 12192000 w 12193200"/>
                <a:gd name="connsiteY4" fmla="*/ 6160597 h 6858000"/>
                <a:gd name="connsiteX5" fmla="*/ 12193200 w 12193200"/>
                <a:gd name="connsiteY5" fmla="*/ 6160597 h 6858000"/>
                <a:gd name="connsiteX6" fmla="*/ 12193200 w 12193200"/>
                <a:gd name="connsiteY6" fmla="*/ 6858000 h 6858000"/>
                <a:gd name="connsiteX7" fmla="*/ 12192000 w 12193200"/>
                <a:gd name="connsiteY7" fmla="*/ 6858000 h 6858000"/>
                <a:gd name="connsiteX8" fmla="*/ 11562000 w 12193200"/>
                <a:gd name="connsiteY8" fmla="*/ 6858000 h 6858000"/>
                <a:gd name="connsiteX9" fmla="*/ 630001 w 12193200"/>
                <a:gd name="connsiteY9" fmla="*/ 6858000 h 6858000"/>
                <a:gd name="connsiteX10" fmla="*/ 1 w 12193200"/>
                <a:gd name="connsiteY10" fmla="*/ 6858000 h 6858000"/>
                <a:gd name="connsiteX11" fmla="*/ 1 w 12193200"/>
                <a:gd name="connsiteY11" fmla="*/ 6160597 h 6858000"/>
                <a:gd name="connsiteX12" fmla="*/ 1 w 12193200"/>
                <a:gd name="connsiteY12" fmla="*/ 622800 h 6858000"/>
                <a:gd name="connsiteX13" fmla="*/ 0 w 12193200"/>
                <a:gd name="connsiteY13" fmla="*/ 622800 h 6858000"/>
                <a:gd name="connsiteX14" fmla="*/ 0 w 12193200"/>
                <a:gd name="connsiteY14" fmla="*/ 0 h 6858000"/>
                <a:gd name="connsiteX15" fmla="*/ 630001 w 12193200"/>
                <a:gd name="connsiteY15" fmla="*/ 622800 h 6858000"/>
                <a:gd name="connsiteX16" fmla="*/ 630001 w 12193200"/>
                <a:gd name="connsiteY16" fmla="*/ 623550 h 6858000"/>
                <a:gd name="connsiteX17" fmla="*/ 392190 w 12193200"/>
                <a:gd name="connsiteY17" fmla="*/ 623550 h 6858000"/>
                <a:gd name="connsiteX18" fmla="*/ 392190 w 12193200"/>
                <a:gd name="connsiteY18" fmla="*/ 6470730 h 6858000"/>
                <a:gd name="connsiteX19" fmla="*/ 11790031 w 12193200"/>
                <a:gd name="connsiteY19" fmla="*/ 6470730 h 6858000"/>
                <a:gd name="connsiteX20" fmla="*/ 11790031 w 12193200"/>
                <a:gd name="connsiteY20" fmla="*/ 623550 h 6858000"/>
                <a:gd name="connsiteX21" fmla="*/ 11562000 w 12193200"/>
                <a:gd name="connsiteY21" fmla="*/ 623550 h 6858000"/>
                <a:gd name="connsiteX22" fmla="*/ 11562000 w 12193200"/>
                <a:gd name="connsiteY22" fmla="*/ 622800 h 6858000"/>
                <a:gd name="connsiteX23" fmla="*/ 630001 w 12193200"/>
                <a:gd name="connsiteY23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193200" h="6858000"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  <a:moveTo>
                    <a:pt x="630001" y="622800"/>
                  </a:moveTo>
                  <a:lnTo>
                    <a:pt x="630001" y="623550"/>
                  </a:lnTo>
                  <a:lnTo>
                    <a:pt x="392190" y="623550"/>
                  </a:lnTo>
                  <a:lnTo>
                    <a:pt x="392190" y="6470730"/>
                  </a:lnTo>
                  <a:lnTo>
                    <a:pt x="11790031" y="6470730"/>
                  </a:lnTo>
                  <a:lnTo>
                    <a:pt x="11790031" y="623550"/>
                  </a:lnTo>
                  <a:lnTo>
                    <a:pt x="11562000" y="623550"/>
                  </a:lnTo>
                  <a:lnTo>
                    <a:pt x="11562000" y="622800"/>
                  </a:lnTo>
                  <a:lnTo>
                    <a:pt x="630001" y="622800"/>
                  </a:lnTo>
                  <a:close/>
                </a:path>
              </a:pathLst>
            </a:custGeom>
            <a:solidFill>
              <a:srgbClr val="E71C57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Footnote measure"/>
            <p:cNvSpPr>
              <a:spLocks noChangeArrowheads="1"/>
            </p:cNvSpPr>
            <p:nvPr/>
          </p:nvSpPr>
          <p:spPr bwMode="auto">
            <a:xfrm>
              <a:off x="392190" y="6027340"/>
              <a:ext cx="11397841" cy="44339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06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08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9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0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1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2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9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7" name="Footnote example"/>
            <p:cNvSpPr txBox="1"/>
            <p:nvPr/>
          </p:nvSpPr>
          <p:spPr>
            <a:xfrm>
              <a:off x="392189" y="6046792"/>
              <a:ext cx="9788619" cy="42393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39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39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39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53351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2656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6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39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78" tIns="179997" rIns="182878" bIns="18287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1991" tIns="467994" rIns="0" bIns="0" rtlCol="0" anchor="t">
            <a:no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75927" y="1115416"/>
            <a:ext cx="2356227" cy="8996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121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119597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780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0877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3286"/>
            <a:ext cx="12192000" cy="6811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018" y="360004"/>
            <a:ext cx="10094383" cy="5078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11461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87401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2393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2479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91437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9" y="1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2019" y="3220597"/>
            <a:ext cx="1547143" cy="423937"/>
          </a:xfrm>
          <a:prstGeom prst="rect">
            <a:avLst/>
          </a:prstGeom>
          <a:noFill/>
        </p:spPr>
        <p:txBody>
          <a:bodyPr wrap="square" lIns="91438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6258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927048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6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39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78" tIns="179997" rIns="182878" bIns="18287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1991" tIns="467994" rIns="0" bIns="0" rtlCol="0" anchor="t">
            <a:no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31F0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75927" y="1115416"/>
            <a:ext cx="2356227" cy="8996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39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9740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17011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2080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144156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2393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Calibri"/>
                <a:ea typeface="+mj-ea"/>
                <a:cs typeface="+mj-cs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9875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865405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9" y="1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018" y="3220597"/>
            <a:ext cx="1327137" cy="423937"/>
          </a:xfrm>
          <a:prstGeom prst="rect">
            <a:avLst/>
          </a:prstGeom>
          <a:noFill/>
        </p:spPr>
        <p:txBody>
          <a:bodyPr wrap="square" lIns="91438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1051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059089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49297"/>
            <a:ext cx="2819400" cy="17594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1" y="6562166"/>
            <a:ext cx="12192000" cy="29583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536040"/>
            <a:ext cx="12192000" cy="29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6615973"/>
            <a:ext cx="2302933" cy="18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799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94554" y="1118621"/>
            <a:ext cx="11053234" cy="5118100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6100" y="6450780"/>
            <a:ext cx="673100" cy="252471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20" b="0">
                <a:solidFill>
                  <a:schemeClr val="tx1"/>
                </a:solidFill>
                <a:latin typeface="Helvetica" pitchFamily="2" charset="0"/>
                <a:cs typeface="+mn-cs"/>
              </a:defRPr>
            </a:lvl1pPr>
          </a:lstStyle>
          <a:p>
            <a:pPr defTabSz="932958">
              <a:defRPr/>
            </a:pPr>
            <a:fld id="{DA0AEBB0-50D9-44AF-8C02-D8242043B2A7}" type="slidenum">
              <a:rPr lang="en-US" smtClean="0">
                <a:solidFill>
                  <a:srgbClr val="494C4F"/>
                </a:solidFill>
              </a:rPr>
              <a:pPr defTabSz="932958">
                <a:defRPr/>
              </a:pPr>
              <a:t>‹#›</a:t>
            </a:fld>
            <a:endParaRPr lang="en-US" dirty="0">
              <a:solidFill>
                <a:srgbClr val="494C4F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508002" y="338221"/>
            <a:ext cx="11036300" cy="49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57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57103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915304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30F00B3C-0CA5-4CD0-9B0F-F40ADEDA469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2700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1323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54A8C8AD-A4F6-464F-8E63-91E8672526A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" y="0"/>
            <a:ext cx="12192000" cy="6859333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991440" y="4454627"/>
            <a:ext cx="7864140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>
                <a:solidFill>
                  <a:schemeClr val="accent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992581" y="3481579"/>
            <a:ext cx="786414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dirty="0">
                <a:solidFill>
                  <a:schemeClr val="accent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991440" y="2737616"/>
            <a:ext cx="7865281" cy="430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800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1">
            <a:extLst>
              <a:ext uri="{FF2B5EF4-FFF2-40B4-BE49-F238E27FC236}">
                <a16:creationId xmlns:a16="http://schemas.microsoft.com/office/drawing/2014/main" id="{1D4600A2-6D63-4170-A663-3C39E912643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992581" y="1362076"/>
            <a:ext cx="358457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867329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Do not remove" hidden="1">
            <a:extLst>
              <a:ext uri="{FF2B5EF4-FFF2-40B4-BE49-F238E27FC236}">
                <a16:creationId xmlns:a16="http://schemas.microsoft.com/office/drawing/2014/main" id="{8DE9B7CB-BE05-41F1-9C27-DF59F0C70E5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2700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9711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3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b="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1008551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305755"/>
            <a:ext cx="7277861" cy="12561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4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17475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3286"/>
            <a:ext cx="12192000" cy="6811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0856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o not remove" hidden="1">
            <a:extLst>
              <a:ext uri="{FF2B5EF4-FFF2-40B4-BE49-F238E27FC236}">
                <a16:creationId xmlns:a16="http://schemas.microsoft.com/office/drawing/2014/main" id="{B8142393-9EE8-46E6-A2B4-83393AB695B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2700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8347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0690EC0-D9FB-4CB9-A37A-E08A03D73065}"/>
              </a:ext>
            </a:extLst>
          </p:cNvPr>
          <p:cNvSpPr/>
          <p:nvPr userDrawn="1"/>
        </p:nvSpPr>
        <p:spPr bwMode="ltGray">
          <a:xfrm>
            <a:off x="3176" y="1"/>
            <a:ext cx="12188824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6324" y="3090447"/>
            <a:ext cx="11082528" cy="677108"/>
          </a:xfrm>
        </p:spPr>
        <p:txBody>
          <a:bodyPr vert="horz" anchor="ctr">
            <a:noAutofit/>
          </a:bodyPr>
          <a:lstStyle>
            <a:lvl1pPr algn="ctr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851F2F3-17BC-4E29-9904-F351E5A5C75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305755"/>
            <a:ext cx="7277861" cy="12561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pic>
        <p:nvPicPr>
          <p:cNvPr id="13" name="Picture 528" descr="Bausch + Lomb Logo : Bausch + Lomb">
            <a:extLst>
              <a:ext uri="{FF2B5EF4-FFF2-40B4-BE49-F238E27FC236}">
                <a16:creationId xmlns:a16="http://schemas.microsoft.com/office/drawing/2014/main" id="{33E6809A-3CE5-4E9E-A7DF-B72E29F81900}"/>
              </a:ext>
            </a:extLst>
          </p:cNvPr>
          <p:cNvPicPr>
            <a:picLocks noChangeArrowheads="1"/>
          </p:cNvPicPr>
          <p:nvPr userDrawn="1"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54737" y="6506775"/>
            <a:ext cx="1163574" cy="91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609314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o not remove" hidden="1">
            <a:extLst>
              <a:ext uri="{FF2B5EF4-FFF2-40B4-BE49-F238E27FC236}">
                <a16:creationId xmlns:a16="http://schemas.microsoft.com/office/drawing/2014/main" id="{440B3F61-5F56-4CC8-985D-9775E56603D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2700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760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305755"/>
            <a:ext cx="7277861" cy="12561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796699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3555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3286"/>
            <a:ext cx="12192000" cy="6811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191" y="1617748"/>
            <a:ext cx="4228496" cy="831126"/>
          </a:xfrm>
        </p:spPr>
        <p:txBody>
          <a:bodyPr vert="horz" lIns="0" tIns="0" rIns="0" bIns="0">
            <a:noAutofit/>
          </a:bodyPr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1617749"/>
            <a:ext cx="7023298" cy="369742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92191" y="2448876"/>
            <a:ext cx="4228496" cy="365293"/>
          </a:xfrm>
        </p:spPr>
        <p:txBody>
          <a:bodyPr lIns="0" tIns="0" rIns="0" bIns="0"/>
          <a:lstStyle>
            <a:lvl1pPr marL="0" indent="0">
              <a:buNone/>
              <a:defRPr sz="1867"/>
            </a:lvl1pPr>
            <a:lvl2pPr marL="609582" indent="0">
              <a:buNone/>
              <a:defRPr sz="1600"/>
            </a:lvl2pPr>
            <a:lvl3pPr marL="1219166" indent="0">
              <a:buNone/>
              <a:defRPr sz="1333"/>
            </a:lvl3pPr>
            <a:lvl4pPr marL="1828747" indent="0">
              <a:buNone/>
              <a:defRPr sz="1200"/>
            </a:lvl4pPr>
            <a:lvl5pPr marL="2438329" indent="0">
              <a:buNone/>
              <a:defRPr sz="1200"/>
            </a:lvl5pPr>
            <a:lvl6pPr marL="3047912" indent="0">
              <a:buNone/>
              <a:defRPr sz="1200"/>
            </a:lvl6pPr>
            <a:lvl7pPr marL="3657495" indent="0">
              <a:buNone/>
              <a:defRPr sz="1200"/>
            </a:lvl7pPr>
            <a:lvl8pPr marL="4267076" indent="0">
              <a:buNone/>
              <a:defRPr sz="1200"/>
            </a:lvl8pPr>
            <a:lvl9pPr marL="4876659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80800" y="6612137"/>
            <a:ext cx="493184" cy="16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3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387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theme" Target="../theme/theme1.xml"/><Relationship Id="rId8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tags" Target="../tags/tag89.xml"/><Relationship Id="rId18" Type="http://schemas.openxmlformats.org/officeDocument/2006/relationships/tags" Target="../tags/tag94.xml"/><Relationship Id="rId26" Type="http://schemas.openxmlformats.org/officeDocument/2006/relationships/oleObject" Target="../embeddings/oleObject78.bin"/><Relationship Id="rId3" Type="http://schemas.openxmlformats.org/officeDocument/2006/relationships/slideLayout" Target="../slideLayouts/slideLayout80.xml"/><Relationship Id="rId21" Type="http://schemas.openxmlformats.org/officeDocument/2006/relationships/tags" Target="../tags/tag97.xml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17" Type="http://schemas.openxmlformats.org/officeDocument/2006/relationships/tags" Target="../tags/tag93.xml"/><Relationship Id="rId25" Type="http://schemas.openxmlformats.org/officeDocument/2006/relationships/tags" Target="../tags/tag101.xml"/><Relationship Id="rId2" Type="http://schemas.openxmlformats.org/officeDocument/2006/relationships/slideLayout" Target="../slideLayouts/slideLayout79.xml"/><Relationship Id="rId16" Type="http://schemas.openxmlformats.org/officeDocument/2006/relationships/tags" Target="../tags/tag92.xml"/><Relationship Id="rId20" Type="http://schemas.openxmlformats.org/officeDocument/2006/relationships/tags" Target="../tags/tag96.xml"/><Relationship Id="rId1" Type="http://schemas.openxmlformats.org/officeDocument/2006/relationships/slideLayout" Target="../slideLayouts/slideLayout78.x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24" Type="http://schemas.openxmlformats.org/officeDocument/2006/relationships/tags" Target="../tags/tag100.xml"/><Relationship Id="rId5" Type="http://schemas.openxmlformats.org/officeDocument/2006/relationships/theme" Target="../theme/theme2.xml"/><Relationship Id="rId15" Type="http://schemas.openxmlformats.org/officeDocument/2006/relationships/tags" Target="../tags/tag91.xml"/><Relationship Id="rId23" Type="http://schemas.openxmlformats.org/officeDocument/2006/relationships/tags" Target="../tags/tag99.xml"/><Relationship Id="rId28" Type="http://schemas.openxmlformats.org/officeDocument/2006/relationships/image" Target="../media/image16.png"/><Relationship Id="rId10" Type="http://schemas.openxmlformats.org/officeDocument/2006/relationships/tags" Target="../tags/tag86.xml"/><Relationship Id="rId19" Type="http://schemas.openxmlformats.org/officeDocument/2006/relationships/tags" Target="../tags/tag95.xml"/><Relationship Id="rId4" Type="http://schemas.openxmlformats.org/officeDocument/2006/relationships/slideLayout" Target="../slideLayouts/slideLayout81.xml"/><Relationship Id="rId9" Type="http://schemas.openxmlformats.org/officeDocument/2006/relationships/tags" Target="../tags/tag85.xml"/><Relationship Id="rId14" Type="http://schemas.openxmlformats.org/officeDocument/2006/relationships/tags" Target="../tags/tag90.xml"/><Relationship Id="rId22" Type="http://schemas.openxmlformats.org/officeDocument/2006/relationships/tags" Target="../tags/tag98.xml"/><Relationship Id="rId27" Type="http://schemas.openxmlformats.org/officeDocument/2006/relationships/image" Target="../media/image1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9"/>
            </p:custDataLst>
            <p:extLst>
              <p:ext uri="{D42A27DB-BD31-4B8C-83A1-F6EECF244321}">
                <p14:modId xmlns:p14="http://schemas.microsoft.com/office/powerpoint/2010/main" val="228112800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0" imgW="270" imgH="270" progId="TCLayout.ActiveDocument.1">
                  <p:embed/>
                </p:oleObj>
              </mc:Choice>
              <mc:Fallback>
                <p:oleObj name="think-cell Slide" r:id="rId8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018" y="326136"/>
            <a:ext cx="10094383" cy="541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59" dir="27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marL="0" marR="0" lvl="0" indent="0" eaLnBrk="0" fontAlgn="base" hangingPunct="0">
              <a:lnSpc>
                <a:spcPct val="95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2191" y="1847102"/>
            <a:ext cx="11397841" cy="41804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227617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96" rtl="0" eaLnBrk="1" latinLnBrk="0" hangingPunct="1">
        <a:lnSpc>
          <a:spcPct val="90000"/>
        </a:lnSpc>
        <a:spcBef>
          <a:spcPct val="0"/>
        </a:spcBef>
        <a:buNone/>
        <a:defRPr kumimoji="0" lang="en-US" sz="3000" b="0" i="0" u="none" strike="noStrike" kern="0" cap="none" spc="0" normalizeH="0" baseline="0" dirty="0">
          <a:ln>
            <a:noFill/>
          </a:ln>
          <a:solidFill>
            <a:srgbClr val="FFFFFF"/>
          </a:solidFill>
          <a:effectLst/>
          <a:uLnTx/>
          <a:uFillTx/>
          <a:latin typeface="Calibri"/>
          <a:ea typeface="ＭＳ Ｐゴシック"/>
          <a:cs typeface="+mj-cs"/>
          <a:sym typeface="Trebuchet MS" panose="020B0603020202020204" pitchFamily="34" charset="0"/>
        </a:defRPr>
      </a:lvl1pPr>
    </p:titleStyle>
    <p:bodyStyle>
      <a:lvl1pPr marL="0" indent="0" algn="l" defTabSz="91439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9AA6"/>
        </a:buClr>
        <a:buFont typeface="Arial" panose="020B0604020202020204" pitchFamily="34" charset="0"/>
        <a:buChar char="​"/>
        <a:defRPr lang="en-US" sz="1200" kern="120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398" indent="-172799" algn="l" defTabSz="91439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9AA6"/>
        </a:buClr>
        <a:buFont typeface="Arial" panose="020B0604020202020204" pitchFamily="34" charset="0"/>
        <a:buChar char="•"/>
        <a:defRPr lang="en-US" sz="1200" kern="120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98" indent="-165600" algn="l" defTabSz="91439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9AA6"/>
        </a:buClr>
        <a:buFont typeface="Trebuchet MS" panose="020B0603020202020204" pitchFamily="34" charset="0"/>
        <a:buChar char="–"/>
        <a:defRPr lang="en-US" sz="1200" kern="120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39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9AA6"/>
        </a:buClr>
        <a:buFont typeface="Arial" panose="020B0604020202020204" pitchFamily="34" charset="0"/>
        <a:buChar char="​"/>
        <a:defRPr lang="en-US" sz="1600" kern="1200">
          <a:solidFill>
            <a:srgbClr val="009AA6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9AA6"/>
        </a:buClr>
        <a:buFont typeface="Arial" panose="020B0604020202020204" pitchFamily="34" charset="0"/>
        <a:buChar char="​"/>
        <a:defRPr lang="en-US" sz="1600" b="1" kern="1200" smtClean="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3" indent="-152399" algn="l" defTabSz="91439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9AA6"/>
        </a:buClr>
        <a:buFont typeface="Arial" panose="020B0604020202020204" pitchFamily="34" charset="0"/>
        <a:buChar char="•"/>
        <a:defRPr lang="en-US" sz="1600" kern="1200" smtClean="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39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9AA6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39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9AA6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09AA6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39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9AA6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9AA6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4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3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1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7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11404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13" imgH="416" progId="TCLayout.ActiveDocument.1">
                  <p:embed/>
                </p:oleObj>
              </mc:Choice>
              <mc:Fallback>
                <p:oleObj name="think-cell Slide" r:id="rId2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3972" y="612219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800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7" y="172213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1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35051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17849"/>
            <a:ext cx="459600" cy="12561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987739" y="2170801"/>
            <a:ext cx="3049253" cy="5809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600" dirty="0"/>
              <a:t>Above Chart Exhibit Title</a:t>
            </a:r>
          </a:p>
          <a:p>
            <a:pPr lvl="0"/>
            <a:r>
              <a:rPr lang="en-US" sz="1600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1"/>
            <a:ext cx="4819930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62494289-F853-4E36-A34A-2024C848B212}"/>
              </a:ext>
            </a:extLst>
          </p:cNvPr>
          <p:cNvGrpSpPr/>
          <p:nvPr userDrawn="1"/>
        </p:nvGrpSpPr>
        <p:grpSpPr>
          <a:xfrm>
            <a:off x="10317307" y="3150223"/>
            <a:ext cx="1332082" cy="962662"/>
            <a:chOff x="10162879" y="3243772"/>
            <a:chExt cx="1332081" cy="962662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776B83E0-A1B9-44E7-B344-07CA4591B1B5}"/>
                </a:ext>
              </a:extLst>
            </p:cNvPr>
            <p:cNvSpPr txBox="1"/>
            <p:nvPr/>
          </p:nvSpPr>
          <p:spPr>
            <a:xfrm>
              <a:off x="10886522" y="3243772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AE107ECD-25AF-4CA1-8439-FAA309212361}"/>
                </a:ext>
              </a:extLst>
            </p:cNvPr>
            <p:cNvSpPr txBox="1"/>
            <p:nvPr/>
          </p:nvSpPr>
          <p:spPr>
            <a:xfrm>
              <a:off x="10886522" y="3615193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D76D524C-691C-4842-9883-0B26806AB568}"/>
                </a:ext>
              </a:extLst>
            </p:cNvPr>
            <p:cNvSpPr txBox="1"/>
            <p:nvPr/>
          </p:nvSpPr>
          <p:spPr>
            <a:xfrm>
              <a:off x="10886522" y="3986614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43A1F266-CB01-4FC1-9F27-F56F9701DF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E5F8DC16-797F-4DD7-830F-1106AA4F98D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0A2C4AE3-AF47-4488-8521-F19747B82CA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176E35A2-71C0-488F-BAA3-555F74F3EB0C}"/>
              </a:ext>
            </a:extLst>
          </p:cNvPr>
          <p:cNvGrpSpPr/>
          <p:nvPr userDrawn="1"/>
        </p:nvGrpSpPr>
        <p:grpSpPr>
          <a:xfrm>
            <a:off x="10688320" y="1145373"/>
            <a:ext cx="961070" cy="1731859"/>
            <a:chOff x="7723680" y="1702457"/>
            <a:chExt cx="961070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EF1A53F8-EBB5-43DB-896D-AD0E24A1A0C3}"/>
                </a:ext>
              </a:extLst>
            </p:cNvPr>
            <p:cNvSpPr txBox="1"/>
            <p:nvPr/>
          </p:nvSpPr>
          <p:spPr>
            <a:xfrm>
              <a:off x="8076312" y="1709817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0713D011-DD68-478E-8D9D-EA6BF84F7A73}"/>
                </a:ext>
              </a:extLst>
            </p:cNvPr>
            <p:cNvSpPr txBox="1"/>
            <p:nvPr/>
          </p:nvSpPr>
          <p:spPr>
            <a:xfrm>
              <a:off x="8076312" y="2085275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B15BEEAF-B1C0-460C-B3C0-647558708932}"/>
                </a:ext>
              </a:extLst>
            </p:cNvPr>
            <p:cNvSpPr txBox="1"/>
            <p:nvPr/>
          </p:nvSpPr>
          <p:spPr>
            <a:xfrm>
              <a:off x="8076312" y="2460734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BA90A98B-00E2-4FCA-B442-8F8AB0B9ECAA}"/>
                </a:ext>
              </a:extLst>
            </p:cNvPr>
            <p:cNvSpPr txBox="1"/>
            <p:nvPr/>
          </p:nvSpPr>
          <p:spPr>
            <a:xfrm>
              <a:off x="8076312" y="2836193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10E8F53D-D26E-4BEC-8536-7DBEC5639E2A}"/>
                </a:ext>
              </a:extLst>
            </p:cNvPr>
            <p:cNvSpPr txBox="1"/>
            <p:nvPr/>
          </p:nvSpPr>
          <p:spPr>
            <a:xfrm>
              <a:off x="8076312" y="3211654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A9CFB33E-5CE6-450F-81C8-211CAE16AA87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984DA8D8-89DB-4C62-BA61-98BF7EE68719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B3411F63-2131-455D-99D7-52CE507E1094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B270C655-1709-4641-A07F-A612696BC711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5B4BAE99-0E1F-4CE3-9C4B-B2BAA3F661C5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9A54E084-F3B8-4BFC-AFF0-A67A81599132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52E11396-F30D-4AC3-9B73-CCB81C737057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E9974FCF-450E-4DDB-A91D-8B1E45B15A0C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78B253C2-35AC-4189-A904-2087EEC61DD4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C457FCE2-91AF-4303-BED7-A3888BB9DC7F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DD50DE59-0B6B-41B8-AFB1-59F1AEE6D2DF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2A88CAB4-7A3D-4F9E-8EF1-3CA168E91F0C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233CC02-1368-4A0A-B9DA-FAD4922BAA4B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E2EC13B5-329F-42C0-9A0E-7479B50F942F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A766F071-3B6C-41AE-804F-95E4197AF53E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20050E4B-427F-4541-812A-EA21EAD5E073}"/>
              </a:ext>
            </a:extLst>
          </p:cNvPr>
          <p:cNvGrpSpPr/>
          <p:nvPr userDrawn="1"/>
        </p:nvGrpSpPr>
        <p:grpSpPr>
          <a:xfrm>
            <a:off x="10714806" y="4381500"/>
            <a:ext cx="934585" cy="1721658"/>
            <a:chOff x="10652400" y="4322824"/>
            <a:chExt cx="934584" cy="1721658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E3FB44AE-1AF6-4D55-B22F-2E72093FC718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FCE01506-736E-4973-9694-CBF39353565F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FC9DD377-EDBA-410F-8986-BCDE16B4580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06CB72BD-0837-4D8C-B175-ADE60A82B94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D887535B-93E3-4590-861F-426B392450FA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BAE215C2-2230-43F4-86FF-1C9A32F3A619}"/>
                </a:ext>
              </a:extLst>
            </p:cNvPr>
            <p:cNvSpPr txBox="1"/>
            <p:nvPr/>
          </p:nvSpPr>
          <p:spPr>
            <a:xfrm>
              <a:off x="10978546" y="4322824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B24A6A50-57F6-4603-9A0B-1C0505F8D44A}"/>
                </a:ext>
              </a:extLst>
            </p:cNvPr>
            <p:cNvSpPr txBox="1"/>
            <p:nvPr/>
          </p:nvSpPr>
          <p:spPr>
            <a:xfrm>
              <a:off x="10978546" y="4702322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5CB238A0-0230-44D4-B85C-F2CC08F4FC8B}"/>
                </a:ext>
              </a:extLst>
            </p:cNvPr>
            <p:cNvSpPr txBox="1"/>
            <p:nvPr/>
          </p:nvSpPr>
          <p:spPr>
            <a:xfrm>
              <a:off x="10978546" y="5081820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70E7AE02-F4C6-4AEC-A5B1-8DCA188E225B}"/>
                </a:ext>
              </a:extLst>
            </p:cNvPr>
            <p:cNvSpPr txBox="1"/>
            <p:nvPr/>
          </p:nvSpPr>
          <p:spPr>
            <a:xfrm>
              <a:off x="10978546" y="5453241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A1BD101B-C40C-4D74-AEE3-AC942A1195E8}"/>
                </a:ext>
              </a:extLst>
            </p:cNvPr>
            <p:cNvSpPr txBox="1"/>
            <p:nvPr/>
          </p:nvSpPr>
          <p:spPr>
            <a:xfrm>
              <a:off x="10978545" y="5824662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193F61D9-062A-4161-A67E-F9A7A9A8D00E}"/>
              </a:ext>
            </a:extLst>
          </p:cNvPr>
          <p:cNvCxnSpPr>
            <a:cxnSpLocks/>
          </p:cNvCxnSpPr>
          <p:nvPr userDrawn="1"/>
        </p:nvCxnSpPr>
        <p:spPr bwMode="ltGray">
          <a:xfrm flipH="1">
            <a:off x="554737" y="949335"/>
            <a:ext cx="11082528" cy="1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pic>
        <p:nvPicPr>
          <p:cNvPr id="52752" name="Picture 528" descr="Bausch + Lomb Logo : Bausch + Lomb">
            <a:extLst>
              <a:ext uri="{FF2B5EF4-FFF2-40B4-BE49-F238E27FC236}">
                <a16:creationId xmlns:a16="http://schemas.microsoft.com/office/drawing/2014/main" id="{49BAB69B-EBE8-4D33-872A-0062C9974DF2}"/>
              </a:ext>
            </a:extLst>
          </p:cNvPr>
          <p:cNvPicPr>
            <a:picLocks noChangeArrowheads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54737" y="6506775"/>
            <a:ext cx="1163574" cy="91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2529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</p:sldLayoutIdLst>
  <p:hf hdr="0" dt="0"/>
  <p:txStyles>
    <p:titleStyle>
      <a:lvl1pPr algn="l" defTabSz="914396" rtl="0" eaLnBrk="1" latinLnBrk="0" hangingPunct="1">
        <a:lnSpc>
          <a:spcPct val="100000"/>
        </a:lnSpc>
        <a:spcBef>
          <a:spcPct val="0"/>
        </a:spcBef>
        <a:buNone/>
        <a:defRPr lang="en-US" sz="250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96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599" indent="-225424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1" indent="-214312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6" indent="-15239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59" indent="-147637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4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3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1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7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821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8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package" Target="../embeddings/Microsoft_Excel_Worksheet.xlsx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package" Target="../embeddings/Microsoft_Excel_Worksheet1.xlsx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wmf"/><Relationship Id="rId2" Type="http://schemas.openxmlformats.org/officeDocument/2006/relationships/package" Target="../embeddings/Microsoft_Excel_Worksheet2.xlsx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72BE83A-1CAA-4EFF-9676-10A7E8D1F27D}"/>
              </a:ext>
            </a:extLst>
          </p:cNvPr>
          <p:cNvSpPr txBox="1"/>
          <p:nvPr/>
        </p:nvSpPr>
        <p:spPr>
          <a:xfrm>
            <a:off x="10189619" y="6585693"/>
            <a:ext cx="2002291" cy="2723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428" dirty="0">
                <a:solidFill>
                  <a:srgbClr val="010101"/>
                </a:solidFill>
                <a:latin typeface="Calibri"/>
              </a:rPr>
              <a:t>Mar 16</a:t>
            </a:r>
            <a:r>
              <a:rPr lang="en-US" sz="1428" baseline="30000" dirty="0">
                <a:solidFill>
                  <a:srgbClr val="010101"/>
                </a:solidFill>
                <a:latin typeface="Calibri"/>
              </a:rPr>
              <a:t>th</a:t>
            </a:r>
            <a:r>
              <a:rPr lang="en-US" sz="1428" dirty="0">
                <a:solidFill>
                  <a:srgbClr val="010101"/>
                </a:solidFill>
                <a:latin typeface="Calibri"/>
              </a:rPr>
              <a:t>, 2023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78" y="163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8" y="163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3860834" y="2900908"/>
            <a:ext cx="8085601" cy="497932"/>
          </a:xfrm>
        </p:spPr>
        <p:txBody>
          <a:bodyPr vert="horz"/>
          <a:lstStyle/>
          <a:p>
            <a:r>
              <a:rPr lang="en-US" sz="2857" b="1" dirty="0"/>
              <a:t>US Consumer eCommerce Shopify Implementation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3860834" y="3733801"/>
            <a:ext cx="7721487" cy="496099"/>
          </a:xfrm>
        </p:spPr>
        <p:txBody>
          <a:bodyPr/>
          <a:lstStyle/>
          <a:p>
            <a:r>
              <a:rPr lang="en-US" sz="2449" dirty="0"/>
              <a:t>SIT Summary Report</a:t>
            </a:r>
          </a:p>
        </p:txBody>
      </p:sp>
    </p:spTree>
    <p:extLst>
      <p:ext uri="{BB962C8B-B14F-4D97-AF65-F5344CB8AC3E}">
        <p14:creationId xmlns:p14="http://schemas.microsoft.com/office/powerpoint/2010/main" val="80065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2C8281-633D-2C5D-4AA9-D015BF1C379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7159" y="290513"/>
            <a:ext cx="10486766" cy="495300"/>
          </a:xfrm>
          <a:noFill/>
          <a:ln w="9525">
            <a:noFill/>
            <a:miter lim="800000"/>
            <a:headEnd/>
            <a:tailEnd/>
          </a:ln>
          <a:effectLst>
            <a:outerShdw blurRad="63500" dist="17959" dir="27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91421" tIns="45712" rIns="91421" bIns="45712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</a:pPr>
            <a:r>
              <a:rPr lang="en-IN" sz="2857" b="1" kern="0" dirty="0">
                <a:ln>
                  <a:noFill/>
                </a:ln>
                <a:solidFill>
                  <a:schemeClr val="bg1"/>
                </a:solidFill>
                <a:latin typeface="Helvetica" pitchFamily="2" charset="0"/>
                <a:ea typeface="ＭＳ Ｐゴシック"/>
              </a:rPr>
              <a:t>SIT 1 Execution Summa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ACC06A-B2BE-B1AA-DC07-16964BD01C96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97159" y="950637"/>
            <a:ext cx="7781731" cy="336155"/>
          </a:xfrm>
        </p:spPr>
        <p:txBody>
          <a:bodyPr/>
          <a:lstStyle/>
          <a:p>
            <a:r>
              <a:rPr lang="en-IN" sz="1800" dirty="0"/>
              <a:t>Below is the summary of the SIT 1 Executio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A7E434A-DA33-86C2-803C-A1DE75752F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9348720"/>
              </p:ext>
            </p:extLst>
          </p:nvPr>
        </p:nvGraphicFramePr>
        <p:xfrm>
          <a:off x="3398503" y="1677454"/>
          <a:ext cx="5394994" cy="21936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51809">
                  <a:extLst>
                    <a:ext uri="{9D8B030D-6E8A-4147-A177-3AD203B41FA5}">
                      <a16:colId xmlns:a16="http://schemas.microsoft.com/office/drawing/2014/main" val="3231604364"/>
                    </a:ext>
                  </a:extLst>
                </a:gridCol>
                <a:gridCol w="2643185">
                  <a:extLst>
                    <a:ext uri="{9D8B030D-6E8A-4147-A177-3AD203B41FA5}">
                      <a16:colId xmlns:a16="http://schemas.microsoft.com/office/drawing/2014/main" val="1458773"/>
                    </a:ext>
                  </a:extLst>
                </a:gridCol>
              </a:tblGrid>
              <a:tr h="36561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orefront</a:t>
                      </a:r>
                    </a:p>
                  </a:txBody>
                  <a:tcPr marL="9407" marR="9407" marT="9407" marB="0" anchor="b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# of Test Steps Failed</a:t>
                      </a:r>
                      <a:endParaRPr lang="en-IN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852008"/>
                  </a:ext>
                </a:extLst>
              </a:tr>
              <a:tr h="365610">
                <a:tc>
                  <a:txBody>
                    <a:bodyPr/>
                    <a:lstStyle/>
                    <a:p>
                      <a:pPr algn="l" fontAlgn="b"/>
                      <a:r>
                        <a:rPr lang="en-IN" sz="1800" u="none" strike="noStrike" dirty="0" err="1">
                          <a:effectLst/>
                        </a:rPr>
                        <a:t>Biotrue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u="none" strike="noStrike" dirty="0">
                          <a:effectLst/>
                        </a:rPr>
                        <a:t>169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extLst>
                  <a:ext uri="{0D108BD9-81ED-4DB2-BD59-A6C34878D82A}">
                    <a16:rowId xmlns:a16="http://schemas.microsoft.com/office/drawing/2014/main" val="4189451186"/>
                  </a:ext>
                </a:extLst>
              </a:tr>
              <a:tr h="365610">
                <a:tc>
                  <a:txBody>
                    <a:bodyPr/>
                    <a:lstStyle/>
                    <a:p>
                      <a:pPr algn="l" fontAlgn="b"/>
                      <a:r>
                        <a:rPr lang="en-IN" sz="1800" u="none" strike="noStrike" dirty="0" err="1">
                          <a:effectLst/>
                        </a:rPr>
                        <a:t>Lumify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u="none" strike="noStrike" dirty="0">
                          <a:effectLst/>
                        </a:rPr>
                        <a:t>211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extLst>
                  <a:ext uri="{0D108BD9-81ED-4DB2-BD59-A6C34878D82A}">
                    <a16:rowId xmlns:a16="http://schemas.microsoft.com/office/drawing/2014/main" val="335168221"/>
                  </a:ext>
                </a:extLst>
              </a:tr>
              <a:tr h="365610">
                <a:tc>
                  <a:txBody>
                    <a:bodyPr/>
                    <a:lstStyle/>
                    <a:p>
                      <a:pPr algn="l" fontAlgn="b"/>
                      <a:r>
                        <a:rPr lang="en-IN" sz="1800" u="none" strike="noStrike" dirty="0">
                          <a:effectLst/>
                        </a:rPr>
                        <a:t>Marketplace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u="none" strike="noStrike" dirty="0">
                          <a:effectLst/>
                        </a:rPr>
                        <a:t>195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extLst>
                  <a:ext uri="{0D108BD9-81ED-4DB2-BD59-A6C34878D82A}">
                    <a16:rowId xmlns:a16="http://schemas.microsoft.com/office/drawing/2014/main" val="975726374"/>
                  </a:ext>
                </a:extLst>
              </a:tr>
              <a:tr h="365610">
                <a:tc>
                  <a:txBody>
                    <a:bodyPr/>
                    <a:lstStyle/>
                    <a:p>
                      <a:pPr algn="l" fontAlgn="b"/>
                      <a:r>
                        <a:rPr lang="en-IN" sz="1800" u="none" strike="noStrike" dirty="0" err="1">
                          <a:effectLst/>
                        </a:rPr>
                        <a:t>PreserVision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u="none" strike="noStrike" dirty="0">
                          <a:effectLst/>
                        </a:rPr>
                        <a:t>213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extLst>
                  <a:ext uri="{0D108BD9-81ED-4DB2-BD59-A6C34878D82A}">
                    <a16:rowId xmlns:a16="http://schemas.microsoft.com/office/drawing/2014/main" val="2722977105"/>
                  </a:ext>
                </a:extLst>
              </a:tr>
              <a:tr h="365610">
                <a:tc>
                  <a:txBody>
                    <a:bodyPr/>
                    <a:lstStyle/>
                    <a:p>
                      <a:pPr algn="l" fontAlgn="b"/>
                      <a:r>
                        <a:rPr lang="en-IN" sz="1800" u="none" strike="noStrike" dirty="0">
                          <a:effectLst/>
                        </a:rPr>
                        <a:t>Grand Total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u="none" strike="noStrike" dirty="0">
                          <a:effectLst/>
                        </a:rPr>
                        <a:t>788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65078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4B6E019-C89F-8D3E-4F77-DDF5C95DD3B7}"/>
              </a:ext>
            </a:extLst>
          </p:cNvPr>
          <p:cNvSpPr txBox="1"/>
          <p:nvPr/>
        </p:nvSpPr>
        <p:spPr>
          <a:xfrm>
            <a:off x="8769766" y="3527337"/>
            <a:ext cx="2145032" cy="55130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932962" fontAlgn="base">
              <a:spcBef>
                <a:spcPts val="306"/>
              </a:spcBef>
              <a:spcAft>
                <a:spcPts val="306"/>
              </a:spcAft>
            </a:pPr>
            <a:r>
              <a:rPr lang="en-IN" sz="2449" dirty="0">
                <a:solidFill>
                  <a:srgbClr val="000000"/>
                </a:solidFill>
                <a:latin typeface="Arial" charset="0"/>
              </a:rPr>
              <a:t> / 1,800 = 47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E9934F-C1BD-9901-5AC3-1A1F51B230B1}"/>
              </a:ext>
            </a:extLst>
          </p:cNvPr>
          <p:cNvSpPr txBox="1"/>
          <p:nvPr/>
        </p:nvSpPr>
        <p:spPr>
          <a:xfrm>
            <a:off x="597159" y="4562872"/>
            <a:ext cx="4522775" cy="188802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632" b="1" u="sng" dirty="0">
                <a:solidFill>
                  <a:srgbClr val="222222"/>
                </a:solidFill>
                <a:latin typeface="Arial" panose="020B0604020202020204" pitchFamily="34" charset="0"/>
              </a:rPr>
              <a:t>Failed due to non-availability in Staging: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632" b="1" u="sng" dirty="0">
              <a:solidFill>
                <a:srgbClr val="222222"/>
              </a:solidFill>
              <a:latin typeface="Arial" panose="020B0604020202020204" pitchFamily="34" charset="0"/>
            </a:endParaRPr>
          </a:p>
          <a:p>
            <a:pPr marL="291551" indent="-291551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32" dirty="0">
                <a:solidFill>
                  <a:srgbClr val="222222"/>
                </a:solidFill>
                <a:latin typeface="Arial" panose="020B0604020202020204" pitchFamily="34" charset="0"/>
              </a:rPr>
              <a:t>Subscription Orders (Recharge)</a:t>
            </a:r>
          </a:p>
          <a:p>
            <a:pPr marL="291551" indent="-291551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32" dirty="0">
                <a:solidFill>
                  <a:srgbClr val="222222"/>
                </a:solidFill>
                <a:latin typeface="Arial" panose="020B0604020202020204" pitchFamily="34" charset="0"/>
              </a:rPr>
              <a:t>Alerts</a:t>
            </a:r>
          </a:p>
          <a:p>
            <a:pPr marL="291551" indent="-291551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32" dirty="0">
                <a:solidFill>
                  <a:srgbClr val="222222"/>
                </a:solidFill>
                <a:latin typeface="Arial" panose="020B0604020202020204" pitchFamily="34" charset="0"/>
              </a:rPr>
              <a:t>Field validations (as they are not available on the current site)</a:t>
            </a:r>
          </a:p>
          <a:p>
            <a:pPr marL="291551" indent="-291551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32" dirty="0">
                <a:solidFill>
                  <a:srgbClr val="222222"/>
                </a:solidFill>
                <a:latin typeface="Arial" panose="020B0604020202020204" pitchFamily="34" charset="0"/>
              </a:rPr>
              <a:t>Customer review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397B636-C9CD-D36C-4787-D758DF0525EE}"/>
              </a:ext>
            </a:extLst>
          </p:cNvPr>
          <p:cNvSpPr txBox="1"/>
          <p:nvPr/>
        </p:nvSpPr>
        <p:spPr>
          <a:xfrm>
            <a:off x="5049642" y="1339346"/>
            <a:ext cx="2136784" cy="35046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IN" sz="1632" b="1" dirty="0">
                <a:solidFill>
                  <a:srgbClr val="000000"/>
                </a:solidFill>
                <a:latin typeface="Arial" charset="0"/>
              </a:rPr>
              <a:t>Defect Summary</a:t>
            </a:r>
            <a:endParaRPr lang="en-IN" sz="1632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9E72134-DD07-258E-C2D8-7C312E75834F}"/>
              </a:ext>
            </a:extLst>
          </p:cNvPr>
          <p:cNvSpPr txBox="1"/>
          <p:nvPr/>
        </p:nvSpPr>
        <p:spPr>
          <a:xfrm>
            <a:off x="1649403" y="4195994"/>
            <a:ext cx="2136784" cy="35046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IN" sz="163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p</a:t>
            </a:r>
            <a:r>
              <a:rPr lang="en-IN" sz="1632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IN" sz="163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as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476D5D0-B97D-F755-F242-B559C63B87A2}"/>
              </a:ext>
            </a:extLst>
          </p:cNvPr>
          <p:cNvSpPr txBox="1"/>
          <p:nvPr/>
        </p:nvSpPr>
        <p:spPr>
          <a:xfrm>
            <a:off x="6778550" y="4386357"/>
            <a:ext cx="4522775" cy="109696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632" b="1" u="sng" dirty="0">
                <a:solidFill>
                  <a:srgbClr val="222222"/>
                </a:solidFill>
                <a:latin typeface="Arial" panose="020B0604020202020204" pitchFamily="34" charset="0"/>
              </a:rPr>
              <a:t>To be Tested in UAT</a:t>
            </a:r>
          </a:p>
          <a:p>
            <a:pPr marL="291551" indent="-291551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IN" sz="1632" dirty="0">
                <a:solidFill>
                  <a:srgbClr val="222222"/>
                </a:solidFill>
                <a:latin typeface="Arial" panose="020B0604020202020204" pitchFamily="34" charset="0"/>
              </a:rPr>
              <a:t>Reports (UAT)</a:t>
            </a:r>
          </a:p>
          <a:p>
            <a:pPr marL="291551" indent="-291551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IN" sz="1632" dirty="0" err="1">
                <a:solidFill>
                  <a:srgbClr val="222222"/>
                </a:solidFill>
                <a:latin typeface="Arial" panose="020B0604020202020204" pitchFamily="34" charset="0"/>
              </a:rPr>
              <a:t>SignifyD</a:t>
            </a:r>
            <a:r>
              <a:rPr lang="en-IN" sz="1632" dirty="0">
                <a:solidFill>
                  <a:srgbClr val="222222"/>
                </a:solidFill>
                <a:latin typeface="Arial" panose="020B0604020202020204" pitchFamily="34" charset="0"/>
              </a:rPr>
              <a:t> (UAT)</a:t>
            </a:r>
          </a:p>
          <a:p>
            <a:pPr marL="291551" indent="-291551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IN" sz="1632" dirty="0">
                <a:solidFill>
                  <a:srgbClr val="222222"/>
                </a:solidFill>
                <a:latin typeface="Arial" panose="020B0604020202020204" pitchFamily="34" charset="0"/>
              </a:rPr>
              <a:t>Avalara (UAT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5211B74-E596-6131-FB74-56948CD68106}"/>
              </a:ext>
            </a:extLst>
          </p:cNvPr>
          <p:cNvSpPr txBox="1"/>
          <p:nvPr/>
        </p:nvSpPr>
        <p:spPr>
          <a:xfrm>
            <a:off x="7834616" y="4030203"/>
            <a:ext cx="2136784" cy="35046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IN" sz="163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t</a:t>
            </a:r>
            <a:r>
              <a:rPr lang="en-IN" sz="1632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IN" sz="163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sted</a:t>
            </a:r>
          </a:p>
        </p:txBody>
      </p:sp>
      <p:sp>
        <p:nvSpPr>
          <p:cNvPr id="5" name="Callout: Down Arrow 4">
            <a:extLst>
              <a:ext uri="{FF2B5EF4-FFF2-40B4-BE49-F238E27FC236}">
                <a16:creationId xmlns:a16="http://schemas.microsoft.com/office/drawing/2014/main" id="{9DC05FD2-7D2E-69AC-E51E-9647778071B8}"/>
              </a:ext>
            </a:extLst>
          </p:cNvPr>
          <p:cNvSpPr/>
          <p:nvPr/>
        </p:nvSpPr>
        <p:spPr>
          <a:xfrm>
            <a:off x="9039938" y="2487799"/>
            <a:ext cx="932972" cy="842864"/>
          </a:xfrm>
          <a:prstGeom prst="downArrowCallout">
            <a:avLst/>
          </a:prstGeom>
          <a:noFill/>
          <a:ln w="38100" cap="flat">
            <a:solidFill>
              <a:srgbClr val="4F9735"/>
            </a:solidFill>
            <a:prstDash val="solid"/>
            <a:round/>
          </a:ln>
          <a:effectLst/>
          <a:sp3d/>
        </p:spPr>
        <p:txBody>
          <a:bodyPr rot="0" spcFirstLastPara="1" vert="horz" wrap="square" lIns="18659" tIns="18659" rIns="18659" bIns="18659" numCol="1" spcCol="3810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932962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632" kern="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Total Test Steps</a:t>
            </a:r>
            <a:endParaRPr lang="en-US" sz="1632" kern="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Callout: Left Arrow 5">
            <a:extLst>
              <a:ext uri="{FF2B5EF4-FFF2-40B4-BE49-F238E27FC236}">
                <a16:creationId xmlns:a16="http://schemas.microsoft.com/office/drawing/2014/main" id="{9BE30006-977D-07EC-C656-DFE0090768D2}"/>
              </a:ext>
            </a:extLst>
          </p:cNvPr>
          <p:cNvSpPr/>
          <p:nvPr/>
        </p:nvSpPr>
        <p:spPr>
          <a:xfrm>
            <a:off x="10914798" y="3421977"/>
            <a:ext cx="800120" cy="550203"/>
          </a:xfrm>
          <a:prstGeom prst="leftArrowCallout">
            <a:avLst>
              <a:gd name="adj1" fmla="val 25000"/>
              <a:gd name="adj2" fmla="val 25000"/>
              <a:gd name="adj3" fmla="val 25000"/>
              <a:gd name="adj4" fmla="val 74131"/>
            </a:avLst>
          </a:prstGeom>
          <a:noFill/>
          <a:ln w="38100" cap="flat">
            <a:solidFill>
              <a:srgbClr val="4F9735"/>
            </a:solidFill>
            <a:prstDash val="solid"/>
            <a:round/>
          </a:ln>
          <a:effectLst/>
          <a:sp3d/>
        </p:spPr>
        <p:txBody>
          <a:bodyPr rot="0" spcFirstLastPara="1" vert="horz" wrap="square" lIns="18659" tIns="18659" rIns="18659" bIns="18659" numCol="1" spcCol="3810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932962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632" kern="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% </a:t>
            </a:r>
          </a:p>
          <a:p>
            <a:pPr algn="ctr" defTabSz="932962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632" kern="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Failed</a:t>
            </a:r>
            <a:endParaRPr lang="en-US" sz="1632" kern="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C8DB43-1B54-13B7-8EEE-8CF800977F39}"/>
              </a:ext>
            </a:extLst>
          </p:cNvPr>
          <p:cNvSpPr txBox="1"/>
          <p:nvPr/>
        </p:nvSpPr>
        <p:spPr>
          <a:xfrm>
            <a:off x="6778549" y="5605092"/>
            <a:ext cx="4522775" cy="845809"/>
          </a:xfrm>
          <a:prstGeom prst="rect">
            <a:avLst/>
          </a:prstGeom>
          <a:solidFill>
            <a:srgbClr val="F29A7E"/>
          </a:solidFill>
          <a:ln w="6350">
            <a:noFill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632" b="1" u="sng" dirty="0">
                <a:solidFill>
                  <a:srgbClr val="222222"/>
                </a:solidFill>
                <a:latin typeface="Arial" panose="020B0604020202020204" pitchFamily="34" charset="0"/>
              </a:rPr>
              <a:t>Out of Scope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632" b="1" u="sng" dirty="0">
              <a:solidFill>
                <a:srgbClr val="222222"/>
              </a:solidFill>
              <a:latin typeface="Arial" panose="020B0604020202020204" pitchFamily="34" charset="0"/>
            </a:endParaRPr>
          </a:p>
          <a:p>
            <a:pPr marL="291551" indent="-291551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IN" sz="1632" dirty="0">
                <a:solidFill>
                  <a:srgbClr val="222222"/>
                </a:solidFill>
                <a:latin typeface="Arial" panose="020B0604020202020204" pitchFamily="34" charset="0"/>
              </a:rPr>
              <a:t>Data Migration</a:t>
            </a:r>
          </a:p>
        </p:txBody>
      </p:sp>
      <p:graphicFrame>
        <p:nvGraphicFramePr>
          <p:cNvPr id="15" name="Object 14">
            <a:extLst>
              <a:ext uri="{FF2B5EF4-FFF2-40B4-BE49-F238E27FC236}">
                <a16:creationId xmlns:a16="http://schemas.microsoft.com/office/drawing/2014/main" id="{4871A6C0-30A5-4D94-667A-C3EF080B94F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55446327"/>
              </p:ext>
            </p:extLst>
          </p:nvPr>
        </p:nvGraphicFramePr>
        <p:xfrm>
          <a:off x="1455722" y="2967598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2" imgW="914282" imgH="792690" progId="Excel.Sheet.12">
                  <p:embed/>
                </p:oleObj>
              </mc:Choice>
              <mc:Fallback>
                <p:oleObj name="Worksheet" showAsIcon="1" r:id="rId2" imgW="914282" imgH="79269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55722" y="2967598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allout: Down Arrow 15">
            <a:extLst>
              <a:ext uri="{FF2B5EF4-FFF2-40B4-BE49-F238E27FC236}">
                <a16:creationId xmlns:a16="http://schemas.microsoft.com/office/drawing/2014/main" id="{180EF985-D314-E5DE-CC2E-6A07CBBFAA27}"/>
              </a:ext>
            </a:extLst>
          </p:cNvPr>
          <p:cNvSpPr/>
          <p:nvPr/>
        </p:nvSpPr>
        <p:spPr>
          <a:xfrm>
            <a:off x="1455722" y="2166231"/>
            <a:ext cx="932972" cy="717809"/>
          </a:xfrm>
          <a:prstGeom prst="downArrowCallout">
            <a:avLst/>
          </a:prstGeom>
          <a:noFill/>
          <a:ln w="38100" cap="flat">
            <a:solidFill>
              <a:srgbClr val="4F9735"/>
            </a:solidFill>
            <a:prstDash val="solid"/>
            <a:round/>
          </a:ln>
          <a:effectLst/>
          <a:sp3d/>
        </p:spPr>
        <p:txBody>
          <a:bodyPr rot="0" spcFirstLastPara="1" vert="horz" wrap="square" lIns="18659" tIns="18659" rIns="18659" bIns="18659" numCol="1" spcCol="3810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932962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Click to Open</a:t>
            </a:r>
            <a:endParaRPr lang="en-US" sz="1400" kern="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57882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2C8281-633D-2C5D-4AA9-D015BF1C379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0506" y="290513"/>
            <a:ext cx="10533419" cy="495300"/>
          </a:xfrm>
          <a:noFill/>
          <a:ln w="9525">
            <a:noFill/>
            <a:miter lim="800000"/>
            <a:headEnd/>
            <a:tailEnd/>
          </a:ln>
          <a:effectLst>
            <a:outerShdw blurRad="63500" dist="17959" dir="27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91421" tIns="45712" rIns="91421" bIns="45712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</a:pPr>
            <a:r>
              <a:rPr lang="en-IN" sz="2857" b="1" kern="0" dirty="0">
                <a:ln>
                  <a:noFill/>
                </a:ln>
                <a:solidFill>
                  <a:schemeClr val="bg1"/>
                </a:solidFill>
                <a:latin typeface="Helvetica" pitchFamily="2" charset="0"/>
                <a:ea typeface="ＭＳ Ｐゴシック"/>
              </a:rPr>
              <a:t>SIT 2 Execution Summary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A7E434A-DA33-86C2-803C-A1DE75752F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538786"/>
              </p:ext>
            </p:extLst>
          </p:nvPr>
        </p:nvGraphicFramePr>
        <p:xfrm>
          <a:off x="3398503" y="1677454"/>
          <a:ext cx="5394994" cy="21936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51809">
                  <a:extLst>
                    <a:ext uri="{9D8B030D-6E8A-4147-A177-3AD203B41FA5}">
                      <a16:colId xmlns:a16="http://schemas.microsoft.com/office/drawing/2014/main" val="3231604364"/>
                    </a:ext>
                  </a:extLst>
                </a:gridCol>
                <a:gridCol w="2643185">
                  <a:extLst>
                    <a:ext uri="{9D8B030D-6E8A-4147-A177-3AD203B41FA5}">
                      <a16:colId xmlns:a16="http://schemas.microsoft.com/office/drawing/2014/main" val="1458773"/>
                    </a:ext>
                  </a:extLst>
                </a:gridCol>
              </a:tblGrid>
              <a:tr h="36561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orefront</a:t>
                      </a:r>
                    </a:p>
                  </a:txBody>
                  <a:tcPr marL="9407" marR="9407" marT="9407" marB="0" anchor="b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# of Test Steps Failed</a:t>
                      </a:r>
                      <a:endParaRPr lang="en-IN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852008"/>
                  </a:ext>
                </a:extLst>
              </a:tr>
              <a:tr h="365610">
                <a:tc>
                  <a:txBody>
                    <a:bodyPr/>
                    <a:lstStyle/>
                    <a:p>
                      <a:pPr algn="l" fontAlgn="b"/>
                      <a:r>
                        <a:rPr lang="en-IN" sz="1800" u="none" strike="noStrike" dirty="0" err="1">
                          <a:effectLst/>
                        </a:rPr>
                        <a:t>Biotrue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u="none" strike="noStrike" dirty="0">
                          <a:effectLst/>
                        </a:rPr>
                        <a:t>39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extLst>
                  <a:ext uri="{0D108BD9-81ED-4DB2-BD59-A6C34878D82A}">
                    <a16:rowId xmlns:a16="http://schemas.microsoft.com/office/drawing/2014/main" val="4189451186"/>
                  </a:ext>
                </a:extLst>
              </a:tr>
              <a:tr h="365610">
                <a:tc>
                  <a:txBody>
                    <a:bodyPr/>
                    <a:lstStyle/>
                    <a:p>
                      <a:pPr algn="l" fontAlgn="b"/>
                      <a:r>
                        <a:rPr lang="en-IN" sz="1800" u="none" strike="noStrike" dirty="0" err="1">
                          <a:effectLst/>
                        </a:rPr>
                        <a:t>Lumify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u="none" strike="noStrike" dirty="0">
                          <a:effectLst/>
                        </a:rPr>
                        <a:t>39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extLst>
                  <a:ext uri="{0D108BD9-81ED-4DB2-BD59-A6C34878D82A}">
                    <a16:rowId xmlns:a16="http://schemas.microsoft.com/office/drawing/2014/main" val="335168221"/>
                  </a:ext>
                </a:extLst>
              </a:tr>
              <a:tr h="365610">
                <a:tc>
                  <a:txBody>
                    <a:bodyPr/>
                    <a:lstStyle/>
                    <a:p>
                      <a:pPr algn="l" fontAlgn="b"/>
                      <a:r>
                        <a:rPr lang="en-IN" sz="1800" u="none" strike="noStrike" dirty="0">
                          <a:effectLst/>
                        </a:rPr>
                        <a:t>Marketplace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u="none" strike="noStrike" dirty="0">
                          <a:effectLst/>
                        </a:rPr>
                        <a:t>39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extLst>
                  <a:ext uri="{0D108BD9-81ED-4DB2-BD59-A6C34878D82A}">
                    <a16:rowId xmlns:a16="http://schemas.microsoft.com/office/drawing/2014/main" val="975726374"/>
                  </a:ext>
                </a:extLst>
              </a:tr>
              <a:tr h="365610">
                <a:tc>
                  <a:txBody>
                    <a:bodyPr/>
                    <a:lstStyle/>
                    <a:p>
                      <a:pPr algn="l" fontAlgn="b"/>
                      <a:r>
                        <a:rPr lang="en-IN" sz="1800" u="none" strike="noStrike" dirty="0" err="1">
                          <a:effectLst/>
                        </a:rPr>
                        <a:t>PreserVision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u="none" strike="noStrike" dirty="0">
                          <a:effectLst/>
                        </a:rPr>
                        <a:t>39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extLst>
                  <a:ext uri="{0D108BD9-81ED-4DB2-BD59-A6C34878D82A}">
                    <a16:rowId xmlns:a16="http://schemas.microsoft.com/office/drawing/2014/main" val="2722977105"/>
                  </a:ext>
                </a:extLst>
              </a:tr>
              <a:tr h="365610">
                <a:tc>
                  <a:txBody>
                    <a:bodyPr/>
                    <a:lstStyle/>
                    <a:p>
                      <a:pPr algn="l" fontAlgn="b"/>
                      <a:r>
                        <a:rPr lang="en-IN" sz="1800" u="none" strike="noStrike" dirty="0">
                          <a:effectLst/>
                        </a:rPr>
                        <a:t>Grand Total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u="none" strike="noStrike" dirty="0">
                          <a:effectLst/>
                        </a:rPr>
                        <a:t>156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65078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4B6E019-C89F-8D3E-4F77-DDF5C95DD3B7}"/>
              </a:ext>
            </a:extLst>
          </p:cNvPr>
          <p:cNvSpPr txBox="1"/>
          <p:nvPr/>
        </p:nvSpPr>
        <p:spPr>
          <a:xfrm>
            <a:off x="8909310" y="3476938"/>
            <a:ext cx="2145032" cy="55130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6"/>
              </a:spcBef>
              <a:spcAft>
                <a:spcPts val="306"/>
              </a:spcAft>
            </a:pPr>
            <a:r>
              <a:rPr lang="en-IN" sz="2449" dirty="0"/>
              <a:t> / 1,800 = 9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E9934F-C1BD-9901-5AC3-1A1F51B230B1}"/>
              </a:ext>
            </a:extLst>
          </p:cNvPr>
          <p:cNvSpPr txBox="1"/>
          <p:nvPr/>
        </p:nvSpPr>
        <p:spPr>
          <a:xfrm>
            <a:off x="858280" y="4468997"/>
            <a:ext cx="4522775" cy="191353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l"/>
            <a:r>
              <a:rPr lang="en-US" sz="1837" b="1" u="sng" dirty="0">
                <a:solidFill>
                  <a:srgbClr val="222222"/>
                </a:solidFill>
                <a:latin typeface="Arial" panose="020B0604020202020204" pitchFamily="34" charset="0"/>
              </a:rPr>
              <a:t>Failure reasons</a:t>
            </a:r>
          </a:p>
          <a:p>
            <a:pPr algn="l"/>
            <a:endParaRPr lang="en-US" sz="1837" b="1" u="sng" dirty="0">
              <a:solidFill>
                <a:srgbClr val="222222"/>
              </a:solidFill>
              <a:latin typeface="Arial" panose="020B0604020202020204" pitchFamily="34" charset="0"/>
            </a:endParaRPr>
          </a:p>
          <a:p>
            <a:pPr marL="291551" marR="0" lvl="0" indent="-291551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ubscription Orders (Recharge)</a:t>
            </a:r>
          </a:p>
          <a:p>
            <a:pPr marL="291551" marR="0" lvl="0" indent="-291551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erts</a:t>
            </a:r>
          </a:p>
          <a:p>
            <a:pPr marL="291551" marR="0" lvl="0" indent="-291551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eld validations (as they are not available on the current site)</a:t>
            </a:r>
          </a:p>
          <a:p>
            <a:pPr marL="291551" marR="0" lvl="0" indent="-291551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ustomer review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397B636-C9CD-D36C-4787-D758DF0525EE}"/>
              </a:ext>
            </a:extLst>
          </p:cNvPr>
          <p:cNvSpPr txBox="1"/>
          <p:nvPr/>
        </p:nvSpPr>
        <p:spPr>
          <a:xfrm>
            <a:off x="5049642" y="1339346"/>
            <a:ext cx="2136784" cy="35046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IN" sz="1632" b="1" dirty="0"/>
              <a:t>Bugs Summary</a:t>
            </a:r>
            <a:endParaRPr lang="en-IN" sz="1837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9E72134-DD07-258E-C2D8-7C312E75834F}"/>
              </a:ext>
            </a:extLst>
          </p:cNvPr>
          <p:cNvSpPr txBox="1"/>
          <p:nvPr/>
        </p:nvSpPr>
        <p:spPr>
          <a:xfrm>
            <a:off x="1910524" y="4102119"/>
            <a:ext cx="2136784" cy="35046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IN" sz="163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p Reasons</a:t>
            </a:r>
            <a:endParaRPr lang="en-IN" sz="1837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Callout: Down Arrow 4">
            <a:extLst>
              <a:ext uri="{FF2B5EF4-FFF2-40B4-BE49-F238E27FC236}">
                <a16:creationId xmlns:a16="http://schemas.microsoft.com/office/drawing/2014/main" id="{9DC05FD2-7D2E-69AC-E51E-9647778071B8}"/>
              </a:ext>
            </a:extLst>
          </p:cNvPr>
          <p:cNvSpPr/>
          <p:nvPr/>
        </p:nvSpPr>
        <p:spPr>
          <a:xfrm>
            <a:off x="9048854" y="2586136"/>
            <a:ext cx="932972" cy="842864"/>
          </a:xfrm>
          <a:prstGeom prst="downArrowCallout">
            <a:avLst/>
          </a:prstGeom>
          <a:noFill/>
          <a:ln w="38100" cap="flat">
            <a:solidFill>
              <a:srgbClr val="4F9735"/>
            </a:solidFill>
            <a:prstDash val="solid"/>
            <a:round/>
          </a:ln>
          <a:effectLst/>
          <a:sp3d/>
        </p:spPr>
        <p:txBody>
          <a:bodyPr rot="0" spcFirstLastPara="1" vert="horz" wrap="square" lIns="18659" tIns="18659" rIns="18659" bIns="18659" numCol="1" spcCol="3810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632" kern="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Total Test Steps</a:t>
            </a:r>
            <a:endParaRPr lang="en-US" sz="1632" kern="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Callout: Left Arrow 5">
            <a:extLst>
              <a:ext uri="{FF2B5EF4-FFF2-40B4-BE49-F238E27FC236}">
                <a16:creationId xmlns:a16="http://schemas.microsoft.com/office/drawing/2014/main" id="{9BE30006-977D-07EC-C656-DFE0090768D2}"/>
              </a:ext>
            </a:extLst>
          </p:cNvPr>
          <p:cNvSpPr/>
          <p:nvPr/>
        </p:nvSpPr>
        <p:spPr>
          <a:xfrm>
            <a:off x="10681064" y="3372247"/>
            <a:ext cx="800120" cy="550203"/>
          </a:xfrm>
          <a:prstGeom prst="leftArrowCallout">
            <a:avLst>
              <a:gd name="adj1" fmla="val 25000"/>
              <a:gd name="adj2" fmla="val 25000"/>
              <a:gd name="adj3" fmla="val 25000"/>
              <a:gd name="adj4" fmla="val 74131"/>
            </a:avLst>
          </a:prstGeom>
          <a:noFill/>
          <a:ln w="38100" cap="flat">
            <a:solidFill>
              <a:srgbClr val="4F9735"/>
            </a:solidFill>
            <a:prstDash val="solid"/>
            <a:round/>
          </a:ln>
          <a:effectLst/>
          <a:sp3d/>
        </p:spPr>
        <p:txBody>
          <a:bodyPr rot="0" spcFirstLastPara="1" vert="horz" wrap="square" lIns="18659" tIns="18659" rIns="18659" bIns="18659" numCol="1" spcCol="3810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632" kern="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% </a:t>
            </a:r>
          </a:p>
          <a:p>
            <a:pPr algn="ctr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632" kern="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Failed</a:t>
            </a:r>
            <a:endParaRPr lang="en-US" sz="1632" kern="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0132C24-DCB0-41A4-D1E3-7BDF7C07B4C6}"/>
              </a:ext>
            </a:extLst>
          </p:cNvPr>
          <p:cNvSpPr txBox="1"/>
          <p:nvPr/>
        </p:nvSpPr>
        <p:spPr>
          <a:xfrm>
            <a:off x="7105079" y="4432332"/>
            <a:ext cx="4522775" cy="109696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632" b="1" u="sng" dirty="0">
                <a:solidFill>
                  <a:srgbClr val="222222"/>
                </a:solidFill>
                <a:latin typeface="Arial" panose="020B0604020202020204" pitchFamily="34" charset="0"/>
              </a:rPr>
              <a:t>To be Tested in UAT</a:t>
            </a:r>
          </a:p>
          <a:p>
            <a:pPr marL="291551" indent="-291551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IN" sz="1632" dirty="0">
                <a:solidFill>
                  <a:srgbClr val="222222"/>
                </a:solidFill>
                <a:latin typeface="Arial" panose="020B0604020202020204" pitchFamily="34" charset="0"/>
              </a:rPr>
              <a:t>Reports (UAT)</a:t>
            </a:r>
          </a:p>
          <a:p>
            <a:pPr marL="291551" indent="-291551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IN" sz="1632" dirty="0" err="1">
                <a:solidFill>
                  <a:srgbClr val="222222"/>
                </a:solidFill>
                <a:latin typeface="Arial" panose="020B0604020202020204" pitchFamily="34" charset="0"/>
              </a:rPr>
              <a:t>SignifyD</a:t>
            </a:r>
            <a:r>
              <a:rPr lang="en-IN" sz="1632" dirty="0">
                <a:solidFill>
                  <a:srgbClr val="222222"/>
                </a:solidFill>
                <a:latin typeface="Arial" panose="020B0604020202020204" pitchFamily="34" charset="0"/>
              </a:rPr>
              <a:t> (UAT)</a:t>
            </a:r>
          </a:p>
          <a:p>
            <a:pPr marL="291551" indent="-291551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IN" sz="1632" dirty="0">
                <a:solidFill>
                  <a:srgbClr val="222222"/>
                </a:solidFill>
                <a:latin typeface="Arial" panose="020B0604020202020204" pitchFamily="34" charset="0"/>
              </a:rPr>
              <a:t>Avalara (UAT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1D043B7-9930-02EF-CA84-4AABA590E483}"/>
              </a:ext>
            </a:extLst>
          </p:cNvPr>
          <p:cNvSpPr txBox="1"/>
          <p:nvPr/>
        </p:nvSpPr>
        <p:spPr>
          <a:xfrm>
            <a:off x="8161145" y="4076178"/>
            <a:ext cx="2136784" cy="35046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IN" sz="1632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Not Tested</a:t>
            </a:r>
            <a:endParaRPr lang="en-IN" sz="1632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272725-D0DB-B49C-BD37-478B99277065}"/>
              </a:ext>
            </a:extLst>
          </p:cNvPr>
          <p:cNvSpPr txBox="1"/>
          <p:nvPr/>
        </p:nvSpPr>
        <p:spPr>
          <a:xfrm>
            <a:off x="7105078" y="5651067"/>
            <a:ext cx="4522775" cy="845809"/>
          </a:xfrm>
          <a:prstGeom prst="rect">
            <a:avLst/>
          </a:prstGeom>
          <a:solidFill>
            <a:srgbClr val="F29A7E"/>
          </a:solidFill>
          <a:ln w="6350">
            <a:noFill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defPPr>
              <a:defRPr lang="en-US"/>
            </a:defPPr>
            <a:lvl1pPr defTabSz="932962" fontAlgn="base">
              <a:spcBef>
                <a:spcPct val="0"/>
              </a:spcBef>
              <a:spcAft>
                <a:spcPct val="0"/>
              </a:spcAft>
              <a:defRPr sz="1632" b="1" u="sng">
                <a:solidFill>
                  <a:srgbClr val="22222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Out </a:t>
            </a:r>
            <a:r>
              <a:rPr lang="en-US"/>
              <a:t>of Scope</a:t>
            </a:r>
            <a:endParaRPr lang="en-US" dirty="0"/>
          </a:p>
          <a:p>
            <a:endParaRPr lang="en-US" dirty="0"/>
          </a:p>
          <a:p>
            <a:r>
              <a:rPr lang="en-IN" dirty="0"/>
              <a:t>Data Migration</a:t>
            </a:r>
          </a:p>
        </p:txBody>
      </p:sp>
      <p:sp>
        <p:nvSpPr>
          <p:cNvPr id="16" name="Callout: Down Arrow 15">
            <a:extLst>
              <a:ext uri="{FF2B5EF4-FFF2-40B4-BE49-F238E27FC236}">
                <a16:creationId xmlns:a16="http://schemas.microsoft.com/office/drawing/2014/main" id="{4546DD34-6D80-A315-0E16-2AFAE0837E60}"/>
              </a:ext>
            </a:extLst>
          </p:cNvPr>
          <p:cNvSpPr/>
          <p:nvPr/>
        </p:nvSpPr>
        <p:spPr>
          <a:xfrm>
            <a:off x="1988234" y="2241639"/>
            <a:ext cx="932972" cy="717809"/>
          </a:xfrm>
          <a:prstGeom prst="downArrowCallout">
            <a:avLst/>
          </a:prstGeom>
          <a:noFill/>
          <a:ln w="38100" cap="flat">
            <a:solidFill>
              <a:srgbClr val="4F9735"/>
            </a:solidFill>
            <a:prstDash val="solid"/>
            <a:round/>
          </a:ln>
          <a:effectLst/>
          <a:sp3d/>
        </p:spPr>
        <p:txBody>
          <a:bodyPr rot="0" spcFirstLastPara="1" vert="horz" wrap="square" lIns="18659" tIns="18659" rIns="18659" bIns="18659" numCol="1" spcCol="3810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932962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Click to Open</a:t>
            </a:r>
            <a:endParaRPr lang="en-US" sz="1400" kern="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18" name="Object 17">
            <a:extLst>
              <a:ext uri="{FF2B5EF4-FFF2-40B4-BE49-F238E27FC236}">
                <a16:creationId xmlns:a16="http://schemas.microsoft.com/office/drawing/2014/main" id="{BE081377-ED27-B6B7-69FB-AA97ECE63F5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6183881"/>
              </p:ext>
            </p:extLst>
          </p:nvPr>
        </p:nvGraphicFramePr>
        <p:xfrm>
          <a:off x="1988234" y="3071484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2" imgW="914282" imgH="792690" progId="Excel.Sheet.12">
                  <p:embed/>
                </p:oleObj>
              </mc:Choice>
              <mc:Fallback>
                <p:oleObj name="Worksheet" showAsIcon="1" r:id="rId2" imgW="914282" imgH="79269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988234" y="3071484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ubtitle 2">
            <a:extLst>
              <a:ext uri="{FF2B5EF4-FFF2-40B4-BE49-F238E27FC236}">
                <a16:creationId xmlns:a16="http://schemas.microsoft.com/office/drawing/2014/main" id="{F4047886-2609-49E1-286A-8B15AA1AAEDC}"/>
              </a:ext>
            </a:extLst>
          </p:cNvPr>
          <p:cNvSpPr txBox="1">
            <a:spLocks/>
          </p:cNvSpPr>
          <p:nvPr/>
        </p:nvSpPr>
        <p:spPr>
          <a:xfrm>
            <a:off x="578497" y="1025285"/>
            <a:ext cx="7781731" cy="3361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96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9AA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1010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398" indent="-172799" algn="l" defTabSz="914396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9AA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1010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198" indent="-165600" algn="l" defTabSz="914396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9AA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1010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396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09AA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009AA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39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9AA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1010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3" indent="-152399" algn="l" defTabSz="914396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9AA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1010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396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09AA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1010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396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9AA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09AA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39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9AA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09AA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r>
              <a:rPr lang="en-IN" sz="1800" dirty="0"/>
              <a:t>Below is the summary of the SIT 2 Execution</a:t>
            </a:r>
          </a:p>
        </p:txBody>
      </p:sp>
    </p:spTree>
    <p:extLst>
      <p:ext uri="{BB962C8B-B14F-4D97-AF65-F5344CB8AC3E}">
        <p14:creationId xmlns:p14="http://schemas.microsoft.com/office/powerpoint/2010/main" val="209354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17E5AE-7EA9-1F9D-6CE7-D38AA9AB5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018" y="379816"/>
            <a:ext cx="10094383" cy="488019"/>
          </a:xfrm>
        </p:spPr>
        <p:txBody>
          <a:bodyPr/>
          <a:lstStyle/>
          <a:p>
            <a:r>
              <a:rPr lang="en-IN" sz="2857" b="1" dirty="0">
                <a:solidFill>
                  <a:schemeClr val="bg1"/>
                </a:solidFill>
                <a:latin typeface="Helvetica" pitchFamily="2" charset="0"/>
              </a:rPr>
              <a:t>Traceability</a:t>
            </a:r>
            <a:r>
              <a:rPr lang="en-IN" sz="2857" b="1" kern="0" dirty="0">
                <a:ln>
                  <a:noFill/>
                </a:ln>
                <a:solidFill>
                  <a:srgbClr val="00B1E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" pitchFamily="2" charset="0"/>
                <a:ea typeface="ＭＳ Ｐゴシック"/>
              </a:rPr>
              <a:t> </a:t>
            </a:r>
            <a:r>
              <a:rPr lang="en-IN" sz="2857" b="1" dirty="0">
                <a:solidFill>
                  <a:schemeClr val="bg1"/>
                </a:solidFill>
                <a:latin typeface="Helvetica" pitchFamily="2" charset="0"/>
              </a:rPr>
              <a:t>Matrix</a:t>
            </a:r>
            <a:r>
              <a:rPr lang="en-IN" sz="2857" b="1" kern="0" dirty="0">
                <a:ln>
                  <a:noFill/>
                </a:ln>
                <a:solidFill>
                  <a:srgbClr val="00B1E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" pitchFamily="2" charset="0"/>
                <a:ea typeface="ＭＳ Ｐゴシック"/>
              </a:rPr>
              <a:t> </a:t>
            </a:r>
            <a:r>
              <a:rPr lang="en-IN" sz="2857" b="1" dirty="0">
                <a:solidFill>
                  <a:schemeClr val="bg1"/>
                </a:solidFill>
                <a:latin typeface="Helvetica" pitchFamily="2" charset="0"/>
              </a:rPr>
              <a:t>at</a:t>
            </a:r>
            <a:r>
              <a:rPr lang="en-IN" sz="2857" b="1" kern="0" dirty="0">
                <a:ln>
                  <a:noFill/>
                </a:ln>
                <a:solidFill>
                  <a:srgbClr val="00B1E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" pitchFamily="2" charset="0"/>
                <a:ea typeface="ＭＳ Ｐゴシック"/>
              </a:rPr>
              <a:t> </a:t>
            </a:r>
            <a:r>
              <a:rPr lang="en-IN" sz="2857" b="1" dirty="0">
                <a:solidFill>
                  <a:schemeClr val="bg1"/>
                </a:solidFill>
                <a:latin typeface="Helvetica" pitchFamily="2" charset="0"/>
              </a:rPr>
              <a:t>SIT</a:t>
            </a:r>
            <a:r>
              <a:rPr lang="en-IN" sz="2857" b="1" kern="0" dirty="0">
                <a:ln>
                  <a:noFill/>
                </a:ln>
                <a:solidFill>
                  <a:srgbClr val="00B1E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" pitchFamily="2" charset="0"/>
                <a:ea typeface="ＭＳ Ｐゴシック"/>
              </a:rPr>
              <a:t> </a:t>
            </a:r>
            <a:r>
              <a:rPr lang="en-IN" sz="2857" b="1" dirty="0">
                <a:solidFill>
                  <a:schemeClr val="bg1"/>
                </a:solidFill>
                <a:latin typeface="Helvetica" pitchFamily="2" charset="0"/>
              </a:rPr>
              <a:t>En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D289668-0AEB-87D8-D9F6-B6E5BAF75723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71500" y="1008062"/>
            <a:ext cx="10512425" cy="395063"/>
          </a:xfrm>
        </p:spPr>
        <p:txBody>
          <a:bodyPr/>
          <a:lstStyle/>
          <a:p>
            <a:r>
              <a:rPr lang="en-IN" sz="1800" dirty="0"/>
              <a:t>Below is the summary of the Traceability Matrix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A7E434A-DA33-86C2-803C-A1DE75752F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9315853"/>
              </p:ext>
            </p:extLst>
          </p:nvPr>
        </p:nvGraphicFramePr>
        <p:xfrm>
          <a:off x="3303917" y="1963204"/>
          <a:ext cx="5403655" cy="17076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56227">
                  <a:extLst>
                    <a:ext uri="{9D8B030D-6E8A-4147-A177-3AD203B41FA5}">
                      <a16:colId xmlns:a16="http://schemas.microsoft.com/office/drawing/2014/main" val="3231604364"/>
                    </a:ext>
                  </a:extLst>
                </a:gridCol>
                <a:gridCol w="2647428">
                  <a:extLst>
                    <a:ext uri="{9D8B030D-6E8A-4147-A177-3AD203B41FA5}">
                      <a16:colId xmlns:a16="http://schemas.microsoft.com/office/drawing/2014/main" val="1458773"/>
                    </a:ext>
                  </a:extLst>
                </a:gridCol>
              </a:tblGrid>
              <a:tr h="34152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quirments</a:t>
                      </a:r>
                      <a:r>
                        <a:rPr lang="en-US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tatus</a:t>
                      </a:r>
                      <a:endParaRPr lang="en-IN" sz="1800" b="1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07" marR="9407" marT="9407" marB="0" anchor="b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unt</a:t>
                      </a:r>
                      <a:endParaRPr lang="en-IN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852008"/>
                  </a:ext>
                </a:extLst>
              </a:tr>
              <a:tr h="341526">
                <a:tc>
                  <a:txBody>
                    <a:bodyPr/>
                    <a:lstStyle/>
                    <a:p>
                      <a:pPr marL="0" marR="0" indent="0" algn="l" defTabSz="91439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Pass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extLst>
                  <a:ext uri="{0D108BD9-81ED-4DB2-BD59-A6C34878D82A}">
                    <a16:rowId xmlns:a16="http://schemas.microsoft.com/office/drawing/2014/main" val="4189451186"/>
                  </a:ext>
                </a:extLst>
              </a:tr>
              <a:tr h="341526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Fail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extLst>
                  <a:ext uri="{0D108BD9-81ED-4DB2-BD59-A6C34878D82A}">
                    <a16:rowId xmlns:a16="http://schemas.microsoft.com/office/drawing/2014/main" val="335168221"/>
                  </a:ext>
                </a:extLst>
              </a:tr>
              <a:tr h="341526">
                <a:tc>
                  <a:txBody>
                    <a:bodyPr/>
                    <a:lstStyle/>
                    <a:p>
                      <a:pPr marL="0" marR="0" indent="0" algn="l" defTabSz="91439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Blank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/>
                </a:tc>
                <a:extLst>
                  <a:ext uri="{0D108BD9-81ED-4DB2-BD59-A6C34878D82A}">
                    <a16:rowId xmlns:a16="http://schemas.microsoft.com/office/drawing/2014/main" val="2722977105"/>
                  </a:ext>
                </a:extLst>
              </a:tr>
              <a:tr h="341526">
                <a:tc>
                  <a:txBody>
                    <a:bodyPr/>
                    <a:lstStyle/>
                    <a:p>
                      <a:pPr algn="l" fontAlgn="b"/>
                      <a:r>
                        <a:rPr lang="en-IN" sz="1800" u="none" strike="noStrike" dirty="0">
                          <a:effectLst/>
                        </a:rPr>
                        <a:t>Grand Total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800" u="none" strike="noStrike" dirty="0">
                          <a:effectLst/>
                        </a:rPr>
                        <a:t>159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07" marR="9407" marT="9407" marB="0" anchor="b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65078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4B6E019-C89F-8D3E-4F77-DDF5C95DD3B7}"/>
              </a:ext>
            </a:extLst>
          </p:cNvPr>
          <p:cNvSpPr txBox="1"/>
          <p:nvPr/>
        </p:nvSpPr>
        <p:spPr>
          <a:xfrm>
            <a:off x="8731509" y="3300948"/>
            <a:ext cx="2145032" cy="55130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6"/>
              </a:spcBef>
              <a:spcAft>
                <a:spcPts val="306"/>
              </a:spcAft>
            </a:pPr>
            <a:r>
              <a:rPr lang="en-IN" sz="2449" dirty="0"/>
              <a:t> /159 = 13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7E9934F-C1BD-9901-5AC3-1A1F51B230B1}"/>
              </a:ext>
            </a:extLst>
          </p:cNvPr>
          <p:cNvSpPr txBox="1"/>
          <p:nvPr/>
        </p:nvSpPr>
        <p:spPr>
          <a:xfrm>
            <a:off x="539375" y="4370446"/>
            <a:ext cx="4030467" cy="191353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l"/>
            <a:r>
              <a:rPr lang="en-US" sz="1837" b="1" u="sng" dirty="0">
                <a:solidFill>
                  <a:srgbClr val="222222"/>
                </a:solidFill>
                <a:latin typeface="Arial" panose="020B0604020202020204" pitchFamily="34" charset="0"/>
              </a:rPr>
              <a:t>Failure reasons</a:t>
            </a:r>
          </a:p>
          <a:p>
            <a:pPr algn="l"/>
            <a:endParaRPr lang="en-US" sz="1837" b="1" u="sng" dirty="0">
              <a:solidFill>
                <a:srgbClr val="222222"/>
              </a:solidFill>
              <a:latin typeface="Arial" panose="020B0604020202020204" pitchFamily="34" charset="0"/>
            </a:endParaRPr>
          </a:p>
          <a:p>
            <a:pPr marL="291551" marR="0" lvl="0" indent="-291551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ubscription Orders (Recharge)</a:t>
            </a:r>
          </a:p>
          <a:p>
            <a:pPr marL="291551" marR="0" lvl="0" indent="-291551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erts</a:t>
            </a:r>
          </a:p>
          <a:p>
            <a:pPr marL="291551" marR="0" lvl="0" indent="-291551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eld validations (as they are not available on the current site)</a:t>
            </a:r>
          </a:p>
          <a:p>
            <a:pPr marL="291551" marR="0" lvl="0" indent="-291551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ustomer review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97B636-C9CD-D36C-4787-D758DF0525EE}"/>
              </a:ext>
            </a:extLst>
          </p:cNvPr>
          <p:cNvSpPr txBox="1"/>
          <p:nvPr/>
        </p:nvSpPr>
        <p:spPr>
          <a:xfrm>
            <a:off x="5049642" y="1625096"/>
            <a:ext cx="2136784" cy="35046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IN" sz="1632" b="1" dirty="0"/>
              <a:t>RTM Summary</a:t>
            </a:r>
            <a:endParaRPr lang="en-IN" sz="1837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E72134-DD07-258E-C2D8-7C312E75834F}"/>
              </a:ext>
            </a:extLst>
          </p:cNvPr>
          <p:cNvSpPr txBox="1"/>
          <p:nvPr/>
        </p:nvSpPr>
        <p:spPr>
          <a:xfrm>
            <a:off x="1341422" y="4003565"/>
            <a:ext cx="2136784" cy="35046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IN" sz="163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p</a:t>
            </a:r>
            <a:r>
              <a:rPr lang="en-IN" sz="1632" b="1" dirty="0"/>
              <a:t> </a:t>
            </a:r>
            <a:r>
              <a:rPr lang="en-IN" sz="163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asons</a:t>
            </a:r>
          </a:p>
        </p:txBody>
      </p:sp>
      <p:sp>
        <p:nvSpPr>
          <p:cNvPr id="11" name="Callout: Down Arrow 4">
            <a:extLst>
              <a:ext uri="{FF2B5EF4-FFF2-40B4-BE49-F238E27FC236}">
                <a16:creationId xmlns:a16="http://schemas.microsoft.com/office/drawing/2014/main" id="{9DC05FD2-7D2E-69AC-E51E-9647778071B8}"/>
              </a:ext>
            </a:extLst>
          </p:cNvPr>
          <p:cNvSpPr/>
          <p:nvPr/>
        </p:nvSpPr>
        <p:spPr>
          <a:xfrm>
            <a:off x="8937884" y="2500108"/>
            <a:ext cx="1166343" cy="827233"/>
          </a:xfrm>
          <a:prstGeom prst="downArrowCallout">
            <a:avLst/>
          </a:prstGeom>
          <a:noFill/>
          <a:ln w="38100" cap="flat">
            <a:solidFill>
              <a:srgbClr val="4F9735"/>
            </a:solidFill>
            <a:prstDash val="solid"/>
            <a:round/>
          </a:ln>
          <a:effectLst/>
          <a:sp3d/>
        </p:spPr>
        <p:txBody>
          <a:bodyPr rot="0" spcFirstLastPara="1" vert="horz" wrap="square" lIns="18659" tIns="18659" rIns="18659" bIns="18659" numCol="1" spcCol="3810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632" kern="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Total Requirement</a:t>
            </a:r>
            <a:endParaRPr lang="en-US" sz="1632" kern="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Callout: Left Arrow 5">
            <a:extLst>
              <a:ext uri="{FF2B5EF4-FFF2-40B4-BE49-F238E27FC236}">
                <a16:creationId xmlns:a16="http://schemas.microsoft.com/office/drawing/2014/main" id="{9BE30006-977D-07EC-C656-DFE0090768D2}"/>
              </a:ext>
            </a:extLst>
          </p:cNvPr>
          <p:cNvSpPr/>
          <p:nvPr/>
        </p:nvSpPr>
        <p:spPr>
          <a:xfrm>
            <a:off x="10281005" y="3215643"/>
            <a:ext cx="800120" cy="550203"/>
          </a:xfrm>
          <a:prstGeom prst="leftArrowCallout">
            <a:avLst>
              <a:gd name="adj1" fmla="val 25000"/>
              <a:gd name="adj2" fmla="val 25000"/>
              <a:gd name="adj3" fmla="val 25000"/>
              <a:gd name="adj4" fmla="val 74131"/>
            </a:avLst>
          </a:prstGeom>
          <a:noFill/>
          <a:ln w="38100" cap="flat">
            <a:solidFill>
              <a:srgbClr val="4F9735"/>
            </a:solidFill>
            <a:prstDash val="solid"/>
            <a:round/>
          </a:ln>
          <a:effectLst/>
          <a:sp3d/>
        </p:spPr>
        <p:txBody>
          <a:bodyPr rot="0" spcFirstLastPara="1" vert="horz" wrap="square" lIns="18659" tIns="18659" rIns="18659" bIns="18659" numCol="1" spcCol="3810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632" kern="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% </a:t>
            </a:r>
          </a:p>
          <a:p>
            <a:pPr algn="ctr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632" kern="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Failed</a:t>
            </a:r>
            <a:endParaRPr lang="en-US" sz="1632" kern="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132C24-DCB0-41A4-D1E3-7BDF7C07B4C6}"/>
              </a:ext>
            </a:extLst>
          </p:cNvPr>
          <p:cNvSpPr txBox="1"/>
          <p:nvPr/>
        </p:nvSpPr>
        <p:spPr>
          <a:xfrm>
            <a:off x="7129850" y="4805751"/>
            <a:ext cx="4522775" cy="109696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632" b="1" u="sng" dirty="0">
                <a:solidFill>
                  <a:srgbClr val="222222"/>
                </a:solidFill>
                <a:latin typeface="Arial" panose="020B0604020202020204" pitchFamily="34" charset="0"/>
              </a:rPr>
              <a:t>To be Tested in UAT</a:t>
            </a:r>
          </a:p>
          <a:p>
            <a:pPr marL="291551" lvl="0" indent="-291551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32" dirty="0">
                <a:solidFill>
                  <a:srgbClr val="222222"/>
                </a:solidFill>
                <a:latin typeface="Arial" panose="020B0604020202020204" pitchFamily="34" charset="0"/>
              </a:rPr>
              <a:t>Data migration</a:t>
            </a:r>
          </a:p>
          <a:p>
            <a:pPr marL="291551" indent="-291551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32" dirty="0">
                <a:solidFill>
                  <a:srgbClr val="222222"/>
                </a:solidFill>
                <a:latin typeface="Arial" panose="020B0604020202020204" pitchFamily="34" charset="0"/>
              </a:rPr>
              <a:t>Licenses</a:t>
            </a:r>
          </a:p>
          <a:p>
            <a:pPr marL="291551" lvl="0" indent="-291551" defTabSz="932962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32" dirty="0">
                <a:solidFill>
                  <a:srgbClr val="222222"/>
                </a:solidFill>
                <a:latin typeface="Arial" panose="020B0604020202020204" pitchFamily="34" charset="0"/>
              </a:rPr>
              <a:t>Product and Sales back-end managem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D043B7-9930-02EF-CA84-4AABA590E483}"/>
              </a:ext>
            </a:extLst>
          </p:cNvPr>
          <p:cNvSpPr txBox="1"/>
          <p:nvPr/>
        </p:nvSpPr>
        <p:spPr>
          <a:xfrm>
            <a:off x="8185916" y="4449597"/>
            <a:ext cx="2136784" cy="35046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IN" sz="163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t</a:t>
            </a:r>
            <a:r>
              <a:rPr lang="en-IN" sz="1632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IN" sz="163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sted</a:t>
            </a:r>
          </a:p>
        </p:txBody>
      </p:sp>
      <p:sp>
        <p:nvSpPr>
          <p:cNvPr id="15" name="Callout: Down Arrow 15">
            <a:extLst>
              <a:ext uri="{FF2B5EF4-FFF2-40B4-BE49-F238E27FC236}">
                <a16:creationId xmlns:a16="http://schemas.microsoft.com/office/drawing/2014/main" id="{4546DD34-6D80-A315-0E16-2AFAE0837E60}"/>
              </a:ext>
            </a:extLst>
          </p:cNvPr>
          <p:cNvSpPr/>
          <p:nvPr/>
        </p:nvSpPr>
        <p:spPr>
          <a:xfrm>
            <a:off x="1537356" y="2023117"/>
            <a:ext cx="932972" cy="717809"/>
          </a:xfrm>
          <a:prstGeom prst="downArrowCallout">
            <a:avLst/>
          </a:prstGeom>
          <a:noFill/>
          <a:ln w="38100" cap="flat">
            <a:solidFill>
              <a:srgbClr val="4F9735"/>
            </a:solidFill>
            <a:prstDash val="solid"/>
            <a:round/>
          </a:ln>
          <a:effectLst/>
          <a:sp3d/>
        </p:spPr>
        <p:txBody>
          <a:bodyPr rot="0" spcFirstLastPara="1" vert="horz" wrap="square" lIns="18659" tIns="18659" rIns="18659" bIns="18659" numCol="1" spcCol="3810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932962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Click to Open</a:t>
            </a:r>
            <a:endParaRPr lang="en-US" sz="1400" kern="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19" name="Object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0902184"/>
              </p:ext>
            </p:extLst>
          </p:nvPr>
        </p:nvGraphicFramePr>
        <p:xfrm>
          <a:off x="1423055" y="2870562"/>
          <a:ext cx="1106114" cy="9582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2" imgW="914400" imgH="792360" progId="Excel.Sheet.12">
                  <p:embed/>
                </p:oleObj>
              </mc:Choice>
              <mc:Fallback>
                <p:oleObj name="Worksheet" showAsIcon="1" r:id="rId2" imgW="914400" imgH="7923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23055" y="2870562"/>
                        <a:ext cx="1106114" cy="9582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39184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B6A99E-CE2D-F7CF-ECFE-AF09A71E4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400" y="2625725"/>
            <a:ext cx="10933200" cy="1606550"/>
          </a:xfrm>
        </p:spPr>
        <p:txBody>
          <a:bodyPr/>
          <a:lstStyle/>
          <a:p>
            <a:pPr algn="ctr"/>
            <a:r>
              <a:rPr lang="en-IN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400707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heme/theme1.xml><?xml version="1.0" encoding="utf-8"?>
<a:theme xmlns:a="http://schemas.openxmlformats.org/drawingml/2006/main" name="Bausch + Lomb Grid 16:9 - 16520">
  <a:themeElements>
    <a:clrScheme name="BL">
      <a:dk1>
        <a:srgbClr val="010101"/>
      </a:dk1>
      <a:lt1>
        <a:sysClr val="window" lastClr="FFFFFF"/>
      </a:lt1>
      <a:dk2>
        <a:srgbClr val="009AA6"/>
      </a:dk2>
      <a:lt2>
        <a:srgbClr val="F2F2F2"/>
      </a:lt2>
      <a:accent1>
        <a:srgbClr val="004D53"/>
      </a:accent1>
      <a:accent2>
        <a:srgbClr val="00747D"/>
      </a:accent2>
      <a:accent3>
        <a:srgbClr val="FFFF00"/>
      </a:accent3>
      <a:accent4>
        <a:srgbClr val="31F0FF"/>
      </a:accent4>
      <a:accent5>
        <a:srgbClr val="C8C8C8"/>
      </a:accent5>
      <a:accent6>
        <a:srgbClr val="72CE9B"/>
      </a:accent6>
      <a:hlink>
        <a:srgbClr val="52B3D2"/>
      </a:hlink>
      <a:folHlink>
        <a:srgbClr val="5BC6E8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9AA6"/>
        </a:solidFill>
        <a:ln w="9525" cap="rnd" cmpd="sng" algn="ctr">
          <a:solidFill>
            <a:srgbClr val="009AA6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rgbClr val="01010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26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9AA6"/>
      </a:accent1>
      <a:accent2>
        <a:srgbClr val="52B3D2"/>
      </a:accent2>
      <a:accent3>
        <a:srgbClr val="72CE9B"/>
      </a:accent3>
      <a:accent4>
        <a:srgbClr val="5BC6E8"/>
      </a:accent4>
      <a:accent5>
        <a:srgbClr val="969696"/>
      </a:accent5>
      <a:accent6>
        <a:srgbClr val="BCE3CB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38100" cap="flat">
          <a:solidFill>
            <a:srgbClr val="4F9735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18288" tIns="18288" rIns="18288" bIns="18288" numCol="1" spcCol="38100" rtlCol="0" anchor="t">
        <a:spAutoFit/>
      </a:bodyPr>
      <a:lstStyle>
        <a:defPPr marL="0" marR="0" indent="0" algn="l" defTabSz="914400" eaLnBrk="1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latin typeface="Calibri"/>
            <a:ea typeface="Calibri"/>
            <a:cs typeface="Calibri"/>
            <a:sym typeface="Calibri"/>
          </a:defRPr>
        </a:defPPr>
      </a:lst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9AA6"/>
        </a:accent1>
        <a:accent2>
          <a:srgbClr val="52B3D2"/>
        </a:accent2>
        <a:accent3>
          <a:srgbClr val="72CE9B"/>
        </a:accent3>
        <a:accent4>
          <a:srgbClr val="5BC6E8"/>
        </a:accent4>
        <a:accent5>
          <a:srgbClr val="969696"/>
        </a:accent5>
        <a:accent6>
          <a:srgbClr val="BCE3CB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J4817_OFF.potx" id="{9C20179A-A049-4A26-A18A-B3EE73A47446}" vid="{CFA45B3C-62F7-453A-89ED-748A91AFC06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</TotalTime>
  <Words>290</Words>
  <Application>Microsoft Office PowerPoint</Application>
  <PresentationFormat>Widescreen</PresentationFormat>
  <Paragraphs>105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Calibri</vt:lpstr>
      <vt:lpstr>Helvetica</vt:lpstr>
      <vt:lpstr>Segoe UI</vt:lpstr>
      <vt:lpstr>Trebuchet MS</vt:lpstr>
      <vt:lpstr>Wingdings</vt:lpstr>
      <vt:lpstr>Bausch + Lomb Grid 16:9 - 16520</vt:lpstr>
      <vt:lpstr>26_White</vt:lpstr>
      <vt:lpstr>think-cell Slide</vt:lpstr>
      <vt:lpstr>Worksheet</vt:lpstr>
      <vt:lpstr>US Consumer eCommerce Shopify Implementation</vt:lpstr>
      <vt:lpstr>SIT 1 Execution Summary</vt:lpstr>
      <vt:lpstr>SIT 2 Execution Summary</vt:lpstr>
      <vt:lpstr>Traceability Matrix at SIT End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 Consumer eCommerce Shopify Implementation</dc:title>
  <dc:creator>Ahmad Rizvi</dc:creator>
  <cp:lastModifiedBy>pf3z1jg0@outlook.com</cp:lastModifiedBy>
  <cp:revision>5</cp:revision>
  <dcterms:created xsi:type="dcterms:W3CDTF">2023-03-17T08:04:27Z</dcterms:created>
  <dcterms:modified xsi:type="dcterms:W3CDTF">2023-03-17T12:32:16Z</dcterms:modified>
</cp:coreProperties>
</file>